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1"/>
    <p:sldMasterId id="2147483751" r:id="rId2"/>
    <p:sldMasterId id="2147483764" r:id="rId3"/>
    <p:sldMasterId id="2147483796" r:id="rId4"/>
    <p:sldMasterId id="2147483808" r:id="rId5"/>
    <p:sldMasterId id="2147483826" r:id="rId6"/>
  </p:sldMasterIdLst>
  <p:notesMasterIdLst>
    <p:notesMasterId r:id="rId62"/>
  </p:notesMasterIdLst>
  <p:sldIdLst>
    <p:sldId id="2147481139" r:id="rId7"/>
    <p:sldId id="214748114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6" r:id="rId18"/>
    <p:sldId id="273" r:id="rId19"/>
    <p:sldId id="270" r:id="rId20"/>
    <p:sldId id="277" r:id="rId21"/>
    <p:sldId id="271" r:id="rId22"/>
    <p:sldId id="272" r:id="rId23"/>
    <p:sldId id="274" r:id="rId24"/>
    <p:sldId id="259" r:id="rId25"/>
    <p:sldId id="260" r:id="rId26"/>
    <p:sldId id="2147481136" r:id="rId27"/>
    <p:sldId id="2147481137" r:id="rId28"/>
    <p:sldId id="2147481138" r:id="rId29"/>
    <p:sldId id="2147481130" r:id="rId30"/>
    <p:sldId id="455" r:id="rId31"/>
    <p:sldId id="2147481133" r:id="rId32"/>
    <p:sldId id="2147471784" r:id="rId33"/>
    <p:sldId id="2147481069" r:id="rId34"/>
    <p:sldId id="2147481072" r:id="rId35"/>
    <p:sldId id="2147481071" r:id="rId36"/>
    <p:sldId id="2147481070" r:id="rId37"/>
    <p:sldId id="288" r:id="rId38"/>
    <p:sldId id="290" r:id="rId39"/>
    <p:sldId id="2147481132" r:id="rId40"/>
    <p:sldId id="2147481134" r:id="rId41"/>
    <p:sldId id="2147481131" r:id="rId42"/>
    <p:sldId id="296" r:id="rId43"/>
    <p:sldId id="421" r:id="rId44"/>
    <p:sldId id="2147481053" r:id="rId45"/>
    <p:sldId id="2147481061" r:id="rId46"/>
    <p:sldId id="2147481063" r:id="rId47"/>
    <p:sldId id="2147472571" r:id="rId48"/>
    <p:sldId id="2147472572" r:id="rId49"/>
    <p:sldId id="2147481057" r:id="rId50"/>
    <p:sldId id="2147481058" r:id="rId51"/>
    <p:sldId id="2147481059" r:id="rId52"/>
    <p:sldId id="2147481060" r:id="rId53"/>
    <p:sldId id="2147481062" r:id="rId54"/>
    <p:sldId id="525" r:id="rId55"/>
    <p:sldId id="515" r:id="rId56"/>
    <p:sldId id="522" r:id="rId57"/>
    <p:sldId id="523" r:id="rId58"/>
    <p:sldId id="524" r:id="rId59"/>
    <p:sldId id="508" r:id="rId60"/>
    <p:sldId id="2147481135" r:id="rId6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552CF1-7691-4E59-BC62-9927BC1920B5}" v="264" dt="2025-05-13T11:44:19.03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9" autoAdjust="0"/>
    <p:restoredTop sz="94660"/>
  </p:normalViewPr>
  <p:slideViewPr>
    <p:cSldViewPr snapToGrid="0">
      <p:cViewPr varScale="1">
        <p:scale>
          <a:sx n="82" d="100"/>
          <a:sy n="82" d="100"/>
        </p:scale>
        <p:origin x="127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microsoft.com/office/2015/10/relationships/revisionInfo" Target="revisionInfo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C7BF12-CB23-4B44-800F-C262F0F4029E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7ECA40-C95D-4617-880A-6C6C76B5B46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68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2CA13CD-EE9F-4D1F-A4D9-8C72B5F54989}" type="slidenum">
              <a:rPr lang="pt-BR" altLang="pt-BR" smtClean="0"/>
              <a:pPr>
                <a:defRPr/>
              </a:pPr>
              <a:t>2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83957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A13CD-EE9F-4D1F-A4D9-8C72B5F54989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144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28f92be7fd0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g28f92be7fd0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32860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28f92be7fd0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g28f92be7fd0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73298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28f92be7fd0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g28f92be7fd0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98659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28f92be7fd0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g28f92be7fd0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77861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28f92be7fd0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g28f92be7fd0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14138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A13CD-EE9F-4D1F-A4D9-8C72B5F54989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080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A13CD-EE9F-4D1F-A4D9-8C72B5F54989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7586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A13CD-EE9F-4D1F-A4D9-8C72B5F54989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154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7CA6-BFD9-4CB1-8892-F6B062E82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1370" y="602568"/>
            <a:ext cx="5894962" cy="48940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CDA8C3-9C0C-4E52-9A62-E4DB159E6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2573" y="1712068"/>
            <a:ext cx="6639053" cy="48832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5E644A-4A37-4757-9809-5B035E287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DB2ADC-AF19-4574-8C10-79B5B04FCA2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736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F8A75A-A388-12FB-5E9B-03AF83448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00CFDED-7E11-C55D-3642-8AFD4920EF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2160C34-CE35-7F44-B873-E5BE475CB0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8E906D-5B01-FB6B-90F1-3A777098C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291D4EE-D4E4-8DBA-9F2A-055718FD0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978D18-3573-279E-C20F-83221D9F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1630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18B1E7-A5A2-9E54-4982-BDCBE5A21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12DF854-0EAE-3475-1C09-A71BC0FB2B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3C20406-97DD-C0AB-AE23-5C6794ED1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048B08F-804C-3423-1E37-0FD6AE754D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77A7F90-5695-15CC-2E9C-3A2F1C488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3334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9B39B35-CD94-5370-8A66-303831B932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24E728A-883A-7A26-1EE0-B74E3DF9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308CBE6-376F-BE02-833A-4BF7F9C75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F1EB58-9EEF-AB92-7B47-45355A01A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E2242F-9498-3F85-1AC4-4393378BE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374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95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4659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193">
          <p15:clr>
            <a:srgbClr val="FBAE40"/>
          </p15:clr>
        </p15:guide>
        <p15:guide id="5" pos="556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752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388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2451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85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823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1016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CDB332D-EACE-4A5C-5255-926142D489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390BBE-E8FE-1457-0399-6930EFE474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CC243C7-C77D-C0AA-FE91-48B27948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A583A6F-65D3-5320-E87F-CCA6DF412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7EFA835-2D73-1935-1F5E-23FC20547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49887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3730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43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2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5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0011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1" y="360000"/>
            <a:ext cx="8514009" cy="68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2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5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253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11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5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1260000"/>
            <a:ext cx="4050000" cy="468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642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5" y="2052000"/>
            <a:ext cx="4049687" cy="3888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1260000"/>
            <a:ext cx="4050000" cy="468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37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1260000"/>
            <a:ext cx="4050000" cy="4104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2" y="2052000"/>
            <a:ext cx="4049687" cy="3312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2" y="5508000"/>
            <a:ext cx="8514009" cy="4140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4994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1260000"/>
            <a:ext cx="405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1260000"/>
            <a:ext cx="4050000" cy="648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6" y="2052000"/>
            <a:ext cx="4049687" cy="3312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2" y="5508000"/>
            <a:ext cx="8514009" cy="4140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333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2" y="2988000"/>
            <a:ext cx="8514009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1270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2" y="2988000"/>
            <a:ext cx="8514009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3117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2" y="2988000"/>
            <a:ext cx="8514009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389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C49F58-9D51-AA3F-DE16-F252E0BF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18B148D-213F-5E99-36DF-E3A47AD0F2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7AA2B51-AE0E-9859-E163-6CE9D961A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E032388-9B52-D060-9261-888922314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60027E6-B389-8DAB-6F51-DEB9B2A4D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4460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2" y="2988000"/>
            <a:ext cx="8514009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81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orient="horz" pos="59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2" y="1800000"/>
            <a:ext cx="8514009" cy="3816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2" y="1260000"/>
            <a:ext cx="8514009" cy="324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5688000"/>
            <a:ext cx="7041600" cy="36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36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51">
          <p15:clr>
            <a:srgbClr val="FBAE40"/>
          </p15:clr>
        </p15:guide>
        <p15:guide id="3" orient="horz" pos="583">
          <p15:clr>
            <a:srgbClr val="FBAE40"/>
          </p15:clr>
        </p15:guide>
        <p15:guide id="4" orient="horz" pos="265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2" y="1800000"/>
            <a:ext cx="8514009" cy="3816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2" y="1260000"/>
            <a:ext cx="8514009" cy="324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5688000"/>
            <a:ext cx="7041600" cy="36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836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5567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6" y="1260475"/>
            <a:ext cx="8531705" cy="43561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5688000"/>
            <a:ext cx="7041600" cy="36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70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1260475"/>
            <a:ext cx="8514160" cy="43561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4" y="360000"/>
            <a:ext cx="8514326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5688000"/>
            <a:ext cx="7041600" cy="36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2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657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5454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532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69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59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89" y="2989384"/>
            <a:ext cx="4049603" cy="298661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8" y="2989382"/>
            <a:ext cx="4049712" cy="29866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59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7EBDDC-FA54-25E8-5A3C-A43EF6731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8829C1D-AA4C-D77E-947B-833FF4433E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4B823A0-3C21-045D-47C4-6F309DAC5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E2A5CF-B450-6449-2691-1A31F8FF4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BD78193-C7ED-E958-2C2E-7D649B62C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46238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768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19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6098540"/>
            <a:ext cx="893024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3418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1CB7B1-A2B9-495B-979A-A7CE1C65D2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3444FFC-10EB-4073-9D6C-AF250590B9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A00519B-8878-4CD6-85EE-CB6D3C4E3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F406D-1D86-411A-8DE8-AD930F848244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CF84FE4-7CE5-4D2D-A0F3-C3EFD4683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3E86A0C-ED4A-45E7-8D8F-5144156AF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76599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DE86C3-8BAF-42C8-B4F4-9B1B2BA61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6FB3062-DBF4-4168-A140-97932122E4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C646AF2-71C8-4C4C-B7C4-9CDCD23BF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C94EC-88FF-4F19-8789-5F6671609C8C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54309A2-E682-4B52-8029-69327AF5B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0764C23-3D18-438A-A8FC-29970F5F6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20878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A7B348-AC6B-4674-88B8-74AAA1A13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12A28B2-18CA-4839-A64A-1AAA619D07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2133A3C-6573-4F6A-8D2A-3BE1476E3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59547-8B40-43F0-A623-6750C4D06AA8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93DE941-8297-49AB-8FA2-445FE27D6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D629B26-408A-4E00-A1CF-8A5CA90F8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59062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17E6CA-024A-427B-8D02-BD4D33F2F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D76200F-9E3F-4ABE-8727-191E9026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96CD2FE-3F10-4096-AE03-0B5F708C3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EC751F5-B711-4B6C-95D2-9DC988892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3DB95-B61D-4D74-808D-59DE1D47DA56}" type="datetime1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883244B-4F3D-480B-9177-0A18A5DD6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AB633FF-816D-448B-BA9C-FBEE2884A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65564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DFF3A1-26EA-4C47-9510-B73B90753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6C37429-31B9-4B04-8B63-DE17EDD5A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3C35B98-B21B-47BD-918F-2988263FA6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E287477-DFA4-4CD4-9D75-7A42A02B6F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F39698B-F932-48BC-BD66-CDF09EE0F1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061CC25-FD78-4AF4-BBDC-777F19FCD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F7F95-5EC5-4F27-B421-7930309DF909}" type="datetime1">
              <a:rPr lang="pt-BR" smtClean="0"/>
              <a:t>13/05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280D030-C89B-4FA1-B7AA-D403312E9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6683211-40C6-4965-BD51-0897A7F93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24987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BD7440C-032B-4CC0-8F6A-DE528D69A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A382B3E-5CB1-4EFF-B23C-FAF4E3AAE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838E1-B45F-4342-92ED-249719CBBB26}" type="datetime1">
              <a:rPr lang="pt-BR" smtClean="0"/>
              <a:t>13/05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DA0C410-272C-46DF-A67B-AC99040BF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BE97070-3F57-4F28-98F3-1E740425D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92202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8224B389-635D-4C14-8075-C9ADFB551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9A0F0-AE16-4C9C-8B5F-A228091D9609}" type="datetime1">
              <a:rPr lang="pt-BR" smtClean="0"/>
              <a:t>13/05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97B77C1F-4BCB-4A3B-A21A-A9354C616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E5513BD-3F40-42EB-BD05-59CC75BD7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1937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F4AFCD-E52C-74C1-14D6-5334F9259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A211A76-1D07-B975-7BF0-EC23D3663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00FA156-E9C1-52DE-23F5-8C4390233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BEB2C2-DCB0-EA65-AF23-080F287C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59BF4F8-3ADA-2207-40BA-4746C3398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985976A-383D-E071-FB80-5BFAA23D9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1120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C04E3B-C743-44B2-84A8-3A2D5275C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C1334C2-FDAF-4697-82E1-20C99187E4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1A8BA73-AE71-46E0-B017-E25386F67A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7AA6DAB-5726-4FAC-93EE-752F62A79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EBBC95-780A-48B7-AE20-54EC221DD17B}" type="datetime1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B68C9AF-4DC0-41FD-BA7D-39394F185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4F867C-301F-47BF-82A6-93C2EFA54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21109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F93158-ABE8-40CD-B94A-E02A582E5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E009313-453C-4021-A78E-CEA1E7AC73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8C9C02E-CACF-4244-B112-1176EC5E31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BB1CE5C-79F7-411A-A6BE-61C9445BE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5A94A-0AC3-4481-A311-29FB541D862B}" type="datetime1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8D0B2D6-BA7E-44B7-A933-460755711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0CF6310-8D88-4A45-B3C6-0CD9362AC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70461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CAEA93-183B-4EDD-9646-F499B3C42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3115776-E37D-4996-B7CC-6B93A550AF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500DB4-9A03-4EE2-A921-48C083A8A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A6CC4-4C87-4DA7-AA1C-915909994C29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5650CD9-D8F5-41D6-9EFE-558796A54A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098B8C6-20C9-46B8-AA5B-189C538F5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47240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78CEB70-7D11-4557-8DDF-9BE25480FD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E36C468-C5A7-46EE-9572-E0C50A45F3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BBAAA86-1220-41D6-AF96-18B339D6E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54EDC-A3B7-4F38-AC13-D73AA7ED9EDD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71F10E6-6354-4B18-8881-A585B3E60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77848E0-0948-4D86-8A4E-5BA87183A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81635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1260000"/>
            <a:ext cx="8514009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18" indent="0">
              <a:buNone/>
              <a:defRPr sz="450">
                <a:solidFill>
                  <a:schemeClr val="tx1"/>
                </a:solidFill>
              </a:defRPr>
            </a:lvl2pPr>
            <a:lvl3pPr marL="408364" indent="0">
              <a:buNone/>
              <a:defRPr sz="450">
                <a:solidFill>
                  <a:schemeClr val="tx1"/>
                </a:solidFill>
              </a:defRPr>
            </a:lvl3pPr>
            <a:lvl4pPr marL="608380" indent="0">
              <a:buNone/>
              <a:defRPr sz="450">
                <a:solidFill>
                  <a:schemeClr val="tx1"/>
                </a:solidFill>
              </a:defRPr>
            </a:lvl4pPr>
            <a:lvl5pPr marL="81196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185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2" y="360000"/>
            <a:ext cx="8514009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134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193">
          <p15:clr>
            <a:srgbClr val="FBAE40"/>
          </p15:clr>
        </p15:guide>
        <p15:guide id="5" pos="556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5184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2" y="1260000"/>
            <a:ext cx="8514009" cy="4752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8045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6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Play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5919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7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947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369088-7E59-10D7-DB8C-9B0D2696F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8AB33B5-50EB-E96C-DCC9-A29FAC4F4C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221E2F2-0AE3-4AFB-FB81-4961F13ED8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9815118-C0E3-B275-8D96-3FB04F305C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72C6C8D-9884-D81D-306E-B166E65B71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D376CED3-BB90-9022-2382-3D8E10F94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A1163660-F0E0-A8D0-CC0B-61D5ED849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3DEC0356-227D-631F-69E2-2A71BE6C2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35365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8"/>
          <p:cNvSpPr txBox="1"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Play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8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57575"/>
              </a:buClr>
              <a:buSzPts val="2400"/>
              <a:buNone/>
              <a:defRPr sz="1800">
                <a:solidFill>
                  <a:srgbClr val="757575"/>
                </a:solidFill>
              </a:defRPr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2000"/>
              <a:buNone/>
              <a:defRPr sz="1500">
                <a:solidFill>
                  <a:srgbClr val="757575"/>
                </a:solidFill>
              </a:defRPr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800"/>
              <a:buNone/>
              <a:defRPr sz="1350">
                <a:solidFill>
                  <a:srgbClr val="757575"/>
                </a:solidFill>
              </a:defRPr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200">
                <a:solidFill>
                  <a:srgbClr val="757575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8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8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3685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9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9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0085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0"/>
          <p:cNvSpPr txBox="1"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0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39" name="Google Shape;39;p10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body" idx="3"/>
          </p:nvPr>
        </p:nvSpPr>
        <p:spPr>
          <a:xfrm>
            <a:off x="4629151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41" name="Google Shape;41;p10"/>
          <p:cNvSpPr txBox="1">
            <a:spLocks noGrp="1"/>
          </p:cNvSpPr>
          <p:nvPr>
            <p:ph type="body" idx="4"/>
          </p:nvPr>
        </p:nvSpPr>
        <p:spPr>
          <a:xfrm>
            <a:off x="4629151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9547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1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9459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2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0293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3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Play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body" idx="2"/>
          </p:nvPr>
        </p:nvSpPr>
        <p:spPr>
          <a:xfrm>
            <a:off x="629841" y="2057401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3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5673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4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Play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4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14"/>
          <p:cNvSpPr txBox="1">
            <a:spLocks noGrp="1"/>
          </p:cNvSpPr>
          <p:nvPr>
            <p:ph type="body" idx="1"/>
          </p:nvPr>
        </p:nvSpPr>
        <p:spPr>
          <a:xfrm>
            <a:off x="629841" y="2057401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65" name="Google Shape;65;p1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4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45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5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5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3"/>
            <a:ext cx="4351339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6684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6"/>
          <p:cNvSpPr txBox="1">
            <a:spLocks noGrp="1"/>
          </p:cNvSpPr>
          <p:nvPr>
            <p:ph type="title"/>
          </p:nvPr>
        </p:nvSpPr>
        <p:spPr>
          <a:xfrm rot="5400000">
            <a:off x="4623594" y="2285208"/>
            <a:ext cx="581183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6"/>
          <p:cNvSpPr txBox="1">
            <a:spLocks noGrp="1"/>
          </p:cNvSpPr>
          <p:nvPr>
            <p:ph type="body" idx="1"/>
          </p:nvPr>
        </p:nvSpPr>
        <p:spPr>
          <a:xfrm rot="5400000">
            <a:off x="623094" y="370682"/>
            <a:ext cx="581183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9155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1260000"/>
            <a:ext cx="8514009" cy="4752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6335281"/>
            <a:ext cx="1008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3/05/202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2" y="6335281"/>
            <a:ext cx="2973263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609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D91BCB-BEB2-C882-8C1A-A7442BBFB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E71E325-33D6-5B8F-EFBC-00B39050B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0C5A27A-D792-F7CA-EF73-A07CAF10B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09A1833-EFFC-9446-8636-FB74E5424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20207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7CA6-BFD9-4CB1-8892-F6B062E82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1370" y="602568"/>
            <a:ext cx="5894962" cy="48940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CDA8C3-9C0C-4E52-9A62-E4DB159E6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2573" y="1712068"/>
            <a:ext cx="6639053" cy="48832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5E644A-4A37-4757-9809-5B035E287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DB2ADC-AF19-4574-8C10-79B5B04FCA2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61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45C69197-B3A9-8203-CD53-CEC197F7A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4CAE51F-563E-87CF-7338-7C869D920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9C7EC06-9B29-0E4D-48D9-54F8D1748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1534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E1EC3-99B8-4E53-CD0D-F1BCEC3A8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B03661-1E9F-4826-2C04-31E0C83959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05ACACC-6784-0934-6FAD-3B3AF2B4DF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9563A32-810F-376C-0B42-E90A43961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B73CE55-6E63-EA7B-0DC7-64E1A0D1F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600E892-0571-40A3-4770-B99EED76C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9798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8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C75B8-AF8F-4D8A-9B3D-D1951A64B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9012" y="6356350"/>
            <a:ext cx="6723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</a:defRPr>
            </a:lvl1pPr>
          </a:lstStyle>
          <a:p>
            <a:fld id="{C3DB2ADC-AF19-4574-8C10-79B5B04FCA2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D0BBF25-8C30-235F-DCDA-17D3DEE06B59}"/>
              </a:ext>
            </a:extLst>
          </p:cNvPr>
          <p:cNvSpPr txBox="1">
            <a:spLocks/>
          </p:cNvSpPr>
          <p:nvPr userDrawn="1"/>
        </p:nvSpPr>
        <p:spPr>
          <a:xfrm>
            <a:off x="2451370" y="602568"/>
            <a:ext cx="5894962" cy="48940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822F2A-82FB-2B77-CC65-7E8F71FD61CE}"/>
              </a:ext>
            </a:extLst>
          </p:cNvPr>
          <p:cNvSpPr txBox="1">
            <a:spLocks/>
          </p:cNvSpPr>
          <p:nvPr userDrawn="1"/>
        </p:nvSpPr>
        <p:spPr>
          <a:xfrm>
            <a:off x="2232573" y="1712068"/>
            <a:ext cx="6639053" cy="48832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9314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kern="1200" cap="all" spc="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7B9580D-EC97-9BAC-189A-61F9F4F3B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C9C0F30-93C5-20EE-3071-A6D9B9919B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22B0F46-372F-65F8-4D87-C2A1634B49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828236-765E-4390-A43C-6120DEF0C6E2}" type="datetimeFigureOut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9D3380C-E879-ABC4-85A4-28BE907B30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0F2C4E0-97AD-41F4-53DA-BA55F87C1D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4E6A13-5DA2-4D31-B26A-C355ABC1E0A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738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62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">
                  <p:embed/>
                </p:oleObj>
              </mc:Choice>
              <mc:Fallback>
                <p:oleObj name="think-cell Slide" r:id="rId3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0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2" y="360000"/>
            <a:ext cx="851400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2" y="1260000"/>
            <a:ext cx="8514009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6335281"/>
            <a:ext cx="1296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/>
              <a:t>Page </a:t>
            </a:r>
            <a:fld id="{72A704F9-61CA-4770-B270-3EB3A3A14010}" type="slidenum">
              <a:rPr smtClean="0"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271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300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5000" indent="-20359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19" indent="-19883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413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3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2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1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60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ED7786A9-F9F2-43F0-A0DA-776D78C3E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9CAA4B7-56C4-4771-AA58-E7F4441771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90B15D1-D1FF-41EB-BD2C-259D05EE08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85A166-001E-4D36-B56D-735A25F5B13D}" type="datetime1">
              <a:rPr lang="pt-BR" smtClean="0"/>
              <a:t>13/05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51BF6E9-A073-42D4-BE0C-E43C0EC54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C40A704-E89A-432B-8B44-231699869C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8FE5C7-39ED-49A0-8A85-32874FDEE90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194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21" r:id="rId12"/>
    <p:sldLayoutId id="2147483822" r:id="rId13"/>
    <p:sldLayoutId id="2147483824" r:id="rId14"/>
    <p:sldLayoutId id="2147483825" r:id="rId1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C0C0C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5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Play"/>
              <a:buNone/>
              <a:defRPr sz="44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Google Shape;7;p5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868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C75B8-AF8F-4D8A-9B3D-D1951A64B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9012" y="6356350"/>
            <a:ext cx="6723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</a:defRPr>
            </a:lvl1pPr>
          </a:lstStyle>
          <a:p>
            <a:fld id="{C3DB2ADC-AF19-4574-8C10-79B5B04FCA2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D0BBF25-8C30-235F-DCDA-17D3DEE06B59}"/>
              </a:ext>
            </a:extLst>
          </p:cNvPr>
          <p:cNvSpPr txBox="1">
            <a:spLocks/>
          </p:cNvSpPr>
          <p:nvPr userDrawn="1"/>
        </p:nvSpPr>
        <p:spPr>
          <a:xfrm>
            <a:off x="2451370" y="602568"/>
            <a:ext cx="5894962" cy="48940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822F2A-82FB-2B77-CC65-7E8F71FD61CE}"/>
              </a:ext>
            </a:extLst>
          </p:cNvPr>
          <p:cNvSpPr txBox="1">
            <a:spLocks/>
          </p:cNvSpPr>
          <p:nvPr userDrawn="1"/>
        </p:nvSpPr>
        <p:spPr>
          <a:xfrm>
            <a:off x="2232573" y="1712068"/>
            <a:ext cx="6639053" cy="48832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E3D9ED98-E073-103E-D433-B5429C98FC7A}"/>
              </a:ext>
            </a:extLst>
          </p:cNvPr>
          <p:cNvGrpSpPr/>
          <p:nvPr userDrawn="1"/>
        </p:nvGrpSpPr>
        <p:grpSpPr>
          <a:xfrm>
            <a:off x="244" y="0"/>
            <a:ext cx="2033407" cy="6857989"/>
            <a:chOff x="0" y="0"/>
            <a:chExt cx="2033407" cy="6857989"/>
          </a:xfrm>
        </p:grpSpPr>
        <p:pic>
          <p:nvPicPr>
            <p:cNvPr id="12" name="Imagem 11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D25AB11F-12B6-86F4-3E66-1B77679073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4" r="60053" b="-1"/>
            <a:stretch/>
          </p:blipFill>
          <p:spPr>
            <a:xfrm>
              <a:off x="0" y="0"/>
              <a:ext cx="2033407" cy="6857989"/>
            </a:xfrm>
            <a:prstGeom prst="rect">
              <a:avLst/>
            </a:prstGeom>
          </p:spPr>
        </p:pic>
        <p:pic>
          <p:nvPicPr>
            <p:cNvPr id="13" name="Imagem 12" descr="Interface gráfica do usuário, Aplicativo&#10;&#10;Descrição gerada automaticamente">
              <a:extLst>
                <a:ext uri="{FF2B5EF4-FFF2-40B4-BE49-F238E27FC236}">
                  <a16:creationId xmlns:a16="http://schemas.microsoft.com/office/drawing/2014/main" id="{32278E27-73D5-CCFB-482C-09A6B371A8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0703"/>
            <a:stretch/>
          </p:blipFill>
          <p:spPr>
            <a:xfrm>
              <a:off x="198922" y="723900"/>
              <a:ext cx="1607347" cy="1498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1553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kern="1200" cap="all" spc="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9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7.png"/><Relationship Id="rId7" Type="http://schemas.openxmlformats.org/officeDocument/2006/relationships/image" Target="../media/image32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1.emf"/><Relationship Id="rId5" Type="http://schemas.openxmlformats.org/officeDocument/2006/relationships/image" Target="../media/image30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6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7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8.png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7.png"/><Relationship Id="rId7" Type="http://schemas.openxmlformats.org/officeDocument/2006/relationships/image" Target="../media/image4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9.png"/><Relationship Id="rId5" Type="http://schemas.openxmlformats.org/officeDocument/2006/relationships/image" Target="../media/image45.jpe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7.png"/><Relationship Id="rId7" Type="http://schemas.openxmlformats.org/officeDocument/2006/relationships/image" Target="../media/image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png"/><Relationship Id="rId18" Type="http://schemas.openxmlformats.org/officeDocument/2006/relationships/image" Target="../media/image61.jpeg"/><Relationship Id="rId3" Type="http://schemas.openxmlformats.org/officeDocument/2006/relationships/image" Target="../media/image49.png"/><Relationship Id="rId21" Type="http://schemas.openxmlformats.org/officeDocument/2006/relationships/image" Target="../media/image64.png"/><Relationship Id="rId7" Type="http://schemas.openxmlformats.org/officeDocument/2006/relationships/image" Target="../media/image3.svg"/><Relationship Id="rId12" Type="http://schemas.openxmlformats.org/officeDocument/2006/relationships/image" Target="../media/image55.jpeg"/><Relationship Id="rId17" Type="http://schemas.openxmlformats.org/officeDocument/2006/relationships/image" Target="../media/image60.png"/><Relationship Id="rId2" Type="http://schemas.openxmlformats.org/officeDocument/2006/relationships/image" Target="../media/image6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11" Type="http://schemas.openxmlformats.org/officeDocument/2006/relationships/image" Target="../media/image54.png"/><Relationship Id="rId5" Type="http://schemas.openxmlformats.org/officeDocument/2006/relationships/image" Target="../media/image50.png"/><Relationship Id="rId15" Type="http://schemas.openxmlformats.org/officeDocument/2006/relationships/image" Target="../media/image58.png"/><Relationship Id="rId23" Type="http://schemas.openxmlformats.org/officeDocument/2006/relationships/image" Target="../media/image66.jpeg"/><Relationship Id="rId10" Type="http://schemas.openxmlformats.org/officeDocument/2006/relationships/image" Target="../media/image53.jpeg"/><Relationship Id="rId19" Type="http://schemas.openxmlformats.org/officeDocument/2006/relationships/image" Target="../media/image62.png"/><Relationship Id="rId4" Type="http://schemas.openxmlformats.org/officeDocument/2006/relationships/image" Target="../media/image48.png"/><Relationship Id="rId9" Type="http://schemas.openxmlformats.org/officeDocument/2006/relationships/image" Target="../media/image52.gif"/><Relationship Id="rId14" Type="http://schemas.openxmlformats.org/officeDocument/2006/relationships/image" Target="../media/image57.jpeg"/><Relationship Id="rId22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3.png"/><Relationship Id="rId7" Type="http://schemas.openxmlformats.org/officeDocument/2006/relationships/image" Target="../media/image6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4.png"/><Relationship Id="rId9" Type="http://schemas.openxmlformats.org/officeDocument/2006/relationships/image" Target="../media/image71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63.png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64.png"/><Relationship Id="rId9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63.png"/><Relationship Id="rId7" Type="http://schemas.openxmlformats.org/officeDocument/2006/relationships/image" Target="../media/image8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1.jpeg"/><Relationship Id="rId5" Type="http://schemas.openxmlformats.org/officeDocument/2006/relationships/image" Target="../media/image80.png"/><Relationship Id="rId4" Type="http://schemas.openxmlformats.org/officeDocument/2006/relationships/image" Target="../media/image6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8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8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microsoft.com/office/2007/relationships/hdphoto" Target="../media/hdphoto4.wdp"/><Relationship Id="rId5" Type="http://schemas.openxmlformats.org/officeDocument/2006/relationships/image" Target="../media/image86.png"/><Relationship Id="rId4" Type="http://schemas.openxmlformats.org/officeDocument/2006/relationships/image" Target="../media/image6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88.jpe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10" Type="http://schemas.openxmlformats.org/officeDocument/2006/relationships/image" Target="../media/image6.png"/><Relationship Id="rId4" Type="http://schemas.openxmlformats.org/officeDocument/2006/relationships/image" Target="../media/image89.jpeg"/><Relationship Id="rId9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88.jpe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93.png"/><Relationship Id="rId5" Type="http://schemas.openxmlformats.org/officeDocument/2006/relationships/image" Target="../media/image90.png"/><Relationship Id="rId4" Type="http://schemas.openxmlformats.org/officeDocument/2006/relationships/image" Target="../media/image89.jpeg"/><Relationship Id="rId9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94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90.png"/><Relationship Id="rId5" Type="http://schemas.openxmlformats.org/officeDocument/2006/relationships/image" Target="../media/image89.jpeg"/><Relationship Id="rId4" Type="http://schemas.openxmlformats.org/officeDocument/2006/relationships/image" Target="../media/image88.jpeg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88.jpe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95.jpeg"/><Relationship Id="rId5" Type="http://schemas.openxmlformats.org/officeDocument/2006/relationships/image" Target="../media/image90.png"/><Relationship Id="rId4" Type="http://schemas.openxmlformats.org/officeDocument/2006/relationships/image" Target="../media/image89.jpeg"/><Relationship Id="rId9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9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63.png"/><Relationship Id="rId7" Type="http://schemas.openxmlformats.org/officeDocument/2006/relationships/image" Target="../media/image99.png"/><Relationship Id="rId12" Type="http://schemas.openxmlformats.org/officeDocument/2006/relationships/image" Target="../media/image4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11" Type="http://schemas.openxmlformats.org/officeDocument/2006/relationships/image" Target="../media/image62.png"/><Relationship Id="rId5" Type="http://schemas.openxmlformats.org/officeDocument/2006/relationships/image" Target="../media/image53.jpeg"/><Relationship Id="rId10" Type="http://schemas.openxmlformats.org/officeDocument/2006/relationships/image" Target="../media/image102.png"/><Relationship Id="rId4" Type="http://schemas.openxmlformats.org/officeDocument/2006/relationships/image" Target="../media/image64.png"/><Relationship Id="rId9" Type="http://schemas.openxmlformats.org/officeDocument/2006/relationships/image" Target="../media/image101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63.png"/><Relationship Id="rId7" Type="http://schemas.openxmlformats.org/officeDocument/2006/relationships/image" Target="../media/image10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image" Target="../media/image6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2.png"/><Relationship Id="rId5" Type="http://schemas.openxmlformats.org/officeDocument/2006/relationships/image" Target="../media/image106.png"/><Relationship Id="rId4" Type="http://schemas.openxmlformats.org/officeDocument/2006/relationships/image" Target="../media/image6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4.png"/><Relationship Id="rId7" Type="http://schemas.openxmlformats.org/officeDocument/2006/relationships/image" Target="../media/image109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54.xml"/><Relationship Id="rId4" Type="http://schemas.microsoft.com/office/2007/relationships/hdphoto" Target="../media/hdphoto6.wdp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7" Type="http://schemas.openxmlformats.org/officeDocument/2006/relationships/image" Target="../media/image115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55.xml"/><Relationship Id="rId4" Type="http://schemas.microsoft.com/office/2007/relationships/hdphoto" Target="../media/hdphoto7.wd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55.xml"/><Relationship Id="rId4" Type="http://schemas.microsoft.com/office/2007/relationships/hdphoto" Target="../media/hdphoto7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4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6.png"/><Relationship Id="rId4" Type="http://schemas.openxmlformats.org/officeDocument/2006/relationships/image" Target="../media/image124.png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.png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48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6.png"/><Relationship Id="rId4" Type="http://schemas.openxmlformats.org/officeDocument/2006/relationships/image" Target="../media/image12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31.png"/><Relationship Id="rId7" Type="http://schemas.openxmlformats.org/officeDocument/2006/relationships/image" Target="../media/image1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32.sv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6.jpeg"/><Relationship Id="rId4" Type="http://schemas.openxmlformats.org/officeDocument/2006/relationships/image" Target="../media/image13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4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.png"/><Relationship Id="rId5" Type="http://schemas.openxmlformats.org/officeDocument/2006/relationships/image" Target="../media/image141.svg"/><Relationship Id="rId4" Type="http://schemas.openxmlformats.org/officeDocument/2006/relationships/image" Target="../media/image14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21.jpg"/><Relationship Id="rId5" Type="http://schemas.openxmlformats.org/officeDocument/2006/relationships/image" Target="../media/image20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7.png"/><Relationship Id="rId7" Type="http://schemas.openxmlformats.org/officeDocument/2006/relationships/image" Target="../media/image25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24.png"/><Relationship Id="rId5" Type="http://schemas.openxmlformats.org/officeDocument/2006/relationships/image" Target="../media/image23.jpg"/><Relationship Id="rId4" Type="http://schemas.openxmlformats.org/officeDocument/2006/relationships/image" Target="../media/image8.png"/><Relationship Id="rId9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8.jpe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2CFBAD16-40D4-0C20-0438-80315313A788}"/>
              </a:ext>
            </a:extLst>
          </p:cNvPr>
          <p:cNvSpPr/>
          <p:nvPr/>
        </p:nvSpPr>
        <p:spPr>
          <a:xfrm>
            <a:off x="681644" y="2082474"/>
            <a:ext cx="4572000" cy="2269374"/>
          </a:xfrm>
          <a:prstGeom prst="roundRect">
            <a:avLst/>
          </a:prstGeom>
          <a:solidFill>
            <a:srgbClr val="BC3625">
              <a:alpha val="36863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5966513A-EDEA-863F-CCC9-6E909BF88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A2C3EB4-2781-7BA5-2A4C-907278E5FF38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76F2E0E-E6FB-82BA-DB83-B7A00774B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04AC289-1D6E-890A-DA7C-471870102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ubtítulo 2">
            <a:extLst>
              <a:ext uri="{FF2B5EF4-FFF2-40B4-BE49-F238E27FC236}">
                <a16:creationId xmlns:a16="http://schemas.microsoft.com/office/drawing/2014/main" id="{61D18D21-9838-4D44-3DF1-43C33E230240}"/>
              </a:ext>
            </a:extLst>
          </p:cNvPr>
          <p:cNvSpPr txBox="1">
            <a:spLocks/>
          </p:cNvSpPr>
          <p:nvPr/>
        </p:nvSpPr>
        <p:spPr>
          <a:xfrm>
            <a:off x="847081" y="5395232"/>
            <a:ext cx="3134716" cy="446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berê Martins da Silva</a:t>
            </a: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003E8EFF-EB40-7527-5704-077F489E8ED5}"/>
              </a:ext>
            </a:extLst>
          </p:cNvPr>
          <p:cNvSpPr txBox="1">
            <a:spLocks/>
          </p:cNvSpPr>
          <p:nvPr/>
        </p:nvSpPr>
        <p:spPr>
          <a:xfrm>
            <a:off x="4648185" y="5339314"/>
            <a:ext cx="3134716" cy="5581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1" i="1" u="none" strike="noStrike" kern="1200" cap="none" spc="4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ere.silva@outec.com.br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b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sto MT"/>
                <a:ea typeface="+mn-ea"/>
                <a:cs typeface="+mn-cs"/>
              </a:rPr>
            </a:b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AFB9D0C0-DC2B-42F9-2A07-905FC1BE099C}"/>
              </a:ext>
            </a:extLst>
          </p:cNvPr>
          <p:cNvSpPr txBox="1">
            <a:spLocks/>
          </p:cNvSpPr>
          <p:nvPr/>
        </p:nvSpPr>
        <p:spPr>
          <a:xfrm>
            <a:off x="4648185" y="6085764"/>
            <a:ext cx="4224637" cy="3848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1" i="1" u="none" strike="noStrike" kern="1200" cap="none" spc="5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ttps://www.linkedin.com/in/iberems/</a:t>
            </a:r>
            <a:endParaRPr kumimoji="0" lang="pt-BR" sz="1800" b="0" i="1" u="none" strike="noStrike" kern="1200" cap="none" spc="5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</a:t>
            </a:r>
            <a:b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m 7" descr="Logotipo, Ícone&#10;&#10;Descrição gerada automaticamente">
            <a:extLst>
              <a:ext uri="{FF2B5EF4-FFF2-40B4-BE49-F238E27FC236}">
                <a16:creationId xmlns:a16="http://schemas.microsoft.com/office/drawing/2014/main" id="{583740AF-73C2-0123-C717-E442BF62C61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4" t="29502" r="29192" b="29502"/>
          <a:stretch/>
        </p:blipFill>
        <p:spPr>
          <a:xfrm>
            <a:off x="3988972" y="5381532"/>
            <a:ext cx="542272" cy="522902"/>
          </a:xfrm>
          <a:prstGeom prst="rect">
            <a:avLst/>
          </a:prstGeom>
        </p:spPr>
      </p:pic>
      <p:pic>
        <p:nvPicPr>
          <p:cNvPr id="9" name="Imagem 8" descr="Logotipo&#10;&#10;Descrição gerada automaticamente">
            <a:extLst>
              <a:ext uri="{FF2B5EF4-FFF2-40B4-BE49-F238E27FC236}">
                <a16:creationId xmlns:a16="http://schemas.microsoft.com/office/drawing/2014/main" id="{11938433-EDBD-995D-BE99-07CDF98659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6" t="29502" r="28814" b="29502"/>
          <a:stretch/>
        </p:blipFill>
        <p:spPr>
          <a:xfrm>
            <a:off x="3988972" y="6100511"/>
            <a:ext cx="532036" cy="518617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2756BC31-1855-AD25-0E38-73A5C4181D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2" t="30117" r="24962" b="15208"/>
          <a:stretch/>
        </p:blipFill>
        <p:spPr bwMode="auto">
          <a:xfrm>
            <a:off x="1356822" y="5846076"/>
            <a:ext cx="1727910" cy="864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92D5D98A-ABB4-E14A-E623-B65D15E5A779}"/>
              </a:ext>
            </a:extLst>
          </p:cNvPr>
          <p:cNvSpPr txBox="1"/>
          <p:nvPr/>
        </p:nvSpPr>
        <p:spPr>
          <a:xfrm>
            <a:off x="948203" y="2319578"/>
            <a:ext cx="4190433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-210 RB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CA98204-6089-2BA1-D261-6F2B9C115F9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3414"/>
          <a:stretch/>
        </p:blipFill>
        <p:spPr>
          <a:xfrm>
            <a:off x="6177456" y="1413429"/>
            <a:ext cx="2375124" cy="3630312"/>
          </a:xfrm>
          <a:prstGeom prst="rect">
            <a:avLst/>
          </a:prstGeom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2976346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3666F-164C-1C2E-CD1A-131AC69C0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64CC3D90-B2F9-9283-36A9-DC49F7EB01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9D361240-E405-BE17-530D-8B40DE799092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CB3589B-ACCF-1FC4-1129-181DED6D7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0B865D9-E0A4-26CE-FCE0-1EA8619DF6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6A02BCC-6014-51B0-0563-11C7382CAF23}"/>
              </a:ext>
            </a:extLst>
          </p:cNvPr>
          <p:cNvSpPr txBox="1"/>
          <p:nvPr/>
        </p:nvSpPr>
        <p:spPr>
          <a:xfrm>
            <a:off x="601182" y="1281561"/>
            <a:ext cx="6249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ojeto da Duplicação da BR-116 – Serra das Araras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76C62A3D-9986-7B10-EC18-B1A79926BF7B}"/>
              </a:ext>
            </a:extLst>
          </p:cNvPr>
          <p:cNvSpPr txBox="1"/>
          <p:nvPr/>
        </p:nvSpPr>
        <p:spPr>
          <a:xfrm>
            <a:off x="601182" y="1650893"/>
            <a:ext cx="7882939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As obras compreendem um trecho de oito quilômetros por sentido, totalizando 16 quilômetros de extensão, entre o km 225 e o km 233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Pistas com quatro faixas por sentido, acostamento e uma faixa de segurança reduzindo em até 50% o tempo de percurso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Trafegam cerca de 390 mil veículos/mês, sendo 36% deles veículos de carga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O investimento de R$ 1,5 bilhão prevê a implantação de 24 viaduto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 Previsão de duração das obras de 52 meses e geração de 5 mil empregos diretos e indiretos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BC29C11A-DECB-E8EF-6659-B7A3F8369B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9767" y="5831650"/>
            <a:ext cx="1401677" cy="841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484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7A58E-BC04-62D8-004A-D89D1179F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2916ED9E-8908-E634-E92B-BBA150D785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49BFE31-CAD7-3B90-2BD2-130BE3FFEF86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8CEBF4E-CB5B-9FB5-8555-11B7AEEB3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C4B08AF-F2CE-F123-82DF-4A400E493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986A1F1-E860-2300-4BF5-ED6C8042865F}"/>
              </a:ext>
            </a:extLst>
          </p:cNvPr>
          <p:cNvSpPr txBox="1"/>
          <p:nvPr/>
        </p:nvSpPr>
        <p:spPr>
          <a:xfrm>
            <a:off x="1200911" y="1363443"/>
            <a:ext cx="29730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cação Geral das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AEs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EA3389B0-1D33-70A6-E823-B6EEEF6BDBD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1" r="9234"/>
          <a:stretch/>
        </p:blipFill>
        <p:spPr bwMode="auto">
          <a:xfrm rot="16200000">
            <a:off x="189205" y="2079709"/>
            <a:ext cx="4770116" cy="47249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3BA8D5E0-0BF6-8E10-4E5C-5A61BF60C6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326"/>
          <a:stretch/>
        </p:blipFill>
        <p:spPr bwMode="auto">
          <a:xfrm>
            <a:off x="5537644" y="1920240"/>
            <a:ext cx="1341632" cy="469888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6B77527B-A8A2-4382-24E4-A85F282125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2521" y="2032189"/>
            <a:ext cx="774224" cy="455098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0F5FF9AE-2E48-BA7E-CE6F-C76C95658C70}"/>
              </a:ext>
            </a:extLst>
          </p:cNvPr>
          <p:cNvSpPr txBox="1"/>
          <p:nvPr/>
        </p:nvSpPr>
        <p:spPr>
          <a:xfrm>
            <a:off x="5263288" y="1484016"/>
            <a:ext cx="3231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erca de 550 Vigas Pré-moldadas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FD224B48-F4B9-DADD-10D7-FDAA1A278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255" y="5334312"/>
            <a:ext cx="2047875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.L.G. ENGENHARIA LTDA.">
            <a:extLst>
              <a:ext uri="{FF2B5EF4-FFF2-40B4-BE49-F238E27FC236}">
                <a16:creationId xmlns:a16="http://schemas.microsoft.com/office/drawing/2014/main" id="{B3F42F3F-BC05-8A77-9547-8C113D17ED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09" b="35818"/>
          <a:stretch/>
        </p:blipFill>
        <p:spPr bwMode="auto">
          <a:xfrm>
            <a:off x="1966145" y="5906063"/>
            <a:ext cx="1637211" cy="485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9994798B-8B55-B2DC-C356-DC5EAB11D6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2" t="30117" r="24962" b="15208"/>
          <a:stretch/>
        </p:blipFill>
        <p:spPr bwMode="auto">
          <a:xfrm>
            <a:off x="244416" y="5806624"/>
            <a:ext cx="1552597" cy="776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3294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EC378-14BE-A90F-FF44-50A6E0DCE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Agrupar 10">
            <a:extLst>
              <a:ext uri="{FF2B5EF4-FFF2-40B4-BE49-F238E27FC236}">
                <a16:creationId xmlns:a16="http://schemas.microsoft.com/office/drawing/2014/main" id="{188BE0E4-069C-EE24-9FB7-5B6C2435C404}"/>
              </a:ext>
            </a:extLst>
          </p:cNvPr>
          <p:cNvGrpSpPr/>
          <p:nvPr/>
        </p:nvGrpSpPr>
        <p:grpSpPr>
          <a:xfrm>
            <a:off x="328555" y="1656472"/>
            <a:ext cx="8486890" cy="4615829"/>
            <a:chOff x="281833" y="1815228"/>
            <a:chExt cx="8486890" cy="4615829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B3E15EFF-E8AE-4F2E-63F6-838AA5DDF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1833" y="1815228"/>
              <a:ext cx="8486890" cy="4615829"/>
            </a:xfrm>
            <a:prstGeom prst="rect">
              <a:avLst/>
            </a:prstGeom>
          </p:spPr>
        </p:pic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19FA3DC1-B719-3FA3-1283-420F44BACC43}"/>
                </a:ext>
              </a:extLst>
            </p:cNvPr>
            <p:cNvSpPr/>
            <p:nvPr/>
          </p:nvSpPr>
          <p:spPr>
            <a:xfrm>
              <a:off x="2930085" y="1828800"/>
              <a:ext cx="3337712" cy="2643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sto MT"/>
                <a:ea typeface="+mn-ea"/>
                <a:cs typeface="+mn-cs"/>
              </a:endParaRPr>
            </a:p>
          </p:txBody>
        </p:sp>
      </p:grpSp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BDA7DA14-5CE4-5119-3346-9E2B4DBD5C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C267AC78-ECD7-412A-C1DB-8F8BDD0B369F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1E7D3C5-99A0-F560-F7FF-FD16C79AF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A437D1B-931C-E8C3-EA4E-89A590EA1A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A83D2D7-BD48-D7DC-59C4-ED9163152DEA}"/>
              </a:ext>
            </a:extLst>
          </p:cNvPr>
          <p:cNvSpPr txBox="1"/>
          <p:nvPr/>
        </p:nvSpPr>
        <p:spPr>
          <a:xfrm>
            <a:off x="1051282" y="1338505"/>
            <a:ext cx="6516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abuleiro de viaduto em grelha de vigas pré-moldadas</a:t>
            </a:r>
          </a:p>
        </p:txBody>
      </p:sp>
    </p:spTree>
    <p:extLst>
      <p:ext uri="{BB962C8B-B14F-4D97-AF65-F5344CB8AC3E}">
        <p14:creationId xmlns:p14="http://schemas.microsoft.com/office/powerpoint/2010/main" val="3274777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BCCA1-86FB-EF7A-1F66-4C0404A07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6154910C-15BE-45AD-487F-FC273A141A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E335C57-0502-4515-7789-4CA4A48346EE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E042E82-F2F3-CD6C-D9F3-25EEA93B8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F1713EA-5EF8-075D-9D2C-EC6FA992A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0DF3DBD-ED11-4A6C-1DF2-52A562E3705F}"/>
              </a:ext>
            </a:extLst>
          </p:cNvPr>
          <p:cNvSpPr txBox="1"/>
          <p:nvPr/>
        </p:nvSpPr>
        <p:spPr>
          <a:xfrm>
            <a:off x="1051282" y="1338505"/>
            <a:ext cx="6516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abuleiro de viaduto em grelha de vigas pré-moldada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520F55D-4F15-0E41-4ABA-94C164B344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608" y="2077255"/>
            <a:ext cx="8242949" cy="330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8210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772B4-6624-4B67-15E6-23DEDB4904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74F307BE-ABD2-5676-FA1C-E6BFE0828D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47C3B2DF-AA88-D339-A17A-6A236331D629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10B165B-6C6C-587B-2572-9747C34B2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5E52A0D9-2123-5E94-26C3-9110CA633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49A524F1-05CD-5677-0D3F-164F69D3C3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8114" y="2118103"/>
            <a:ext cx="6416097" cy="415533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6BD42665-6673-7F84-520B-045CF454ACEF}"/>
              </a:ext>
            </a:extLst>
          </p:cNvPr>
          <p:cNvSpPr txBox="1"/>
          <p:nvPr/>
        </p:nvSpPr>
        <p:spPr>
          <a:xfrm>
            <a:off x="784304" y="1393931"/>
            <a:ext cx="764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ngarinas Pré-Moldadas Protendidas de 40,40 m (esp. 4,25 m)</a:t>
            </a:r>
          </a:p>
        </p:txBody>
      </p:sp>
    </p:spTree>
    <p:extLst>
      <p:ext uri="{BB962C8B-B14F-4D97-AF65-F5344CB8AC3E}">
        <p14:creationId xmlns:p14="http://schemas.microsoft.com/office/powerpoint/2010/main" val="3460778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9E088D-603B-CA26-8067-CE0EF9FBB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72FF5469-0AC9-8944-27C9-AE3EA9C111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0C0EB63-F927-F6B0-6D48-F4C3570D7431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E8693F6-9C4E-5579-3D50-0B8DB4B8E6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7631765-3B73-E9EA-4855-F31BABF752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CFCEA312-F0DC-C8C9-06AB-61D0CD5AEA64}"/>
              </a:ext>
            </a:extLst>
          </p:cNvPr>
          <p:cNvSpPr txBox="1"/>
          <p:nvPr/>
        </p:nvSpPr>
        <p:spPr>
          <a:xfrm>
            <a:off x="784304" y="1393931"/>
            <a:ext cx="764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ngarinas Pré-Moldadas Protendidas de 41,80 m (esp. 4,25 m)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5AE4C82A-706D-DBD9-18B5-0F9249596F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538" y="2093165"/>
            <a:ext cx="8686800" cy="403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7217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BDEE2-BDBE-C19B-8651-FE6DE83B7A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E9483C0E-C892-1625-DB0F-86B948F1A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B589A000-0075-9779-97CF-AD1DD61CBF9B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0B9CD2A-C93C-8F42-3FA8-70EB8B181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FCD4D48-6158-AE5E-53A6-F7A31BF4C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D8EA4B89-1D95-9612-1E7D-48E706F45B9B}"/>
              </a:ext>
            </a:extLst>
          </p:cNvPr>
          <p:cNvSpPr txBox="1"/>
          <p:nvPr/>
        </p:nvSpPr>
        <p:spPr>
          <a:xfrm>
            <a:off x="784304" y="1393931"/>
            <a:ext cx="764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ngarinas Pré-Moldadas Protendidas de 41,80 m (esp. 4,25 m)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4035D6B2-FA0D-5E67-3A24-9FC2172BA4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2483" y="4229121"/>
            <a:ext cx="3102324" cy="1063514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5699E5B6-2F39-85C6-B867-8F3204DC474C}"/>
              </a:ext>
            </a:extLst>
          </p:cNvPr>
          <p:cNvSpPr txBox="1"/>
          <p:nvPr/>
        </p:nvSpPr>
        <p:spPr>
          <a:xfrm>
            <a:off x="3582483" y="5767299"/>
            <a:ext cx="44582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60 Ø 15,2 CP210 RB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 67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Ø 15,2 CP190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  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7AEE380-818E-73AF-1E5B-74B4B5CA7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362" y="1921347"/>
            <a:ext cx="8849275" cy="2165769"/>
          </a:xfrm>
          <a:prstGeom prst="rect">
            <a:avLst/>
          </a:prstGeom>
        </p:spPr>
      </p:pic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71ACF2D-F614-F29E-FDC1-4B3A0F546E6B}"/>
              </a:ext>
            </a:extLst>
          </p:cNvPr>
          <p:cNvGrpSpPr/>
          <p:nvPr/>
        </p:nvGrpSpPr>
        <p:grpSpPr>
          <a:xfrm>
            <a:off x="158328" y="4229121"/>
            <a:ext cx="2963675" cy="2390007"/>
            <a:chOff x="158328" y="4229121"/>
            <a:chExt cx="2963675" cy="239000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0156BF75-EA36-7E4D-C5F8-E604C6C7D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t="22571"/>
            <a:stretch/>
          </p:blipFill>
          <p:spPr>
            <a:xfrm>
              <a:off x="158328" y="4229121"/>
              <a:ext cx="2963675" cy="2390007"/>
            </a:xfrm>
            <a:prstGeom prst="rect">
              <a:avLst/>
            </a:prstGeom>
          </p:spPr>
        </p:pic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4D422E3B-6388-EC31-EB1B-EB5D7FDE1F4C}"/>
                </a:ext>
              </a:extLst>
            </p:cNvPr>
            <p:cNvSpPr/>
            <p:nvPr/>
          </p:nvSpPr>
          <p:spPr>
            <a:xfrm>
              <a:off x="2218367" y="4599053"/>
              <a:ext cx="903636" cy="595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sto MT"/>
                <a:ea typeface="+mn-ea"/>
                <a:cs typeface="+mn-cs"/>
              </a:endParaRPr>
            </a:p>
          </p:txBody>
        </p:sp>
      </p:grpSp>
      <p:pic>
        <p:nvPicPr>
          <p:cNvPr id="19" name="Imagem 18">
            <a:extLst>
              <a:ext uri="{FF2B5EF4-FFF2-40B4-BE49-F238E27FC236}">
                <a16:creationId xmlns:a16="http://schemas.microsoft.com/office/drawing/2014/main" id="{C0D2140B-3138-8854-C7EF-B3E8818FCE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076" r="606"/>
          <a:stretch/>
        </p:blipFill>
        <p:spPr>
          <a:xfrm>
            <a:off x="7145286" y="4345805"/>
            <a:ext cx="1127628" cy="946829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2504310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D43A0-040D-F4DF-ADCE-536D87C84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C33988D2-862C-EF43-CEB7-7E7010FB7A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7FE8050F-0AB9-956F-4E39-F95E486ECF3D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5C2E386-85CB-247A-5393-8367C1D5F6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CDDE48F-9CF0-9152-B239-9053512A09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41BC0CD-7961-AB71-5605-07E8E82FD321}"/>
              </a:ext>
            </a:extLst>
          </p:cNvPr>
          <p:cNvSpPr txBox="1"/>
          <p:nvPr/>
        </p:nvSpPr>
        <p:spPr>
          <a:xfrm>
            <a:off x="299632" y="1803516"/>
            <a:ext cx="638944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USTENTABILIDADE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Novos materiais, melhor desempenho e menor consumo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6C2D7439-D7DA-DF74-B3C1-8651F7CF751E}"/>
              </a:ext>
            </a:extLst>
          </p:cNvPr>
          <p:cNvSpPr txBox="1"/>
          <p:nvPr/>
        </p:nvSpPr>
        <p:spPr>
          <a:xfrm>
            <a:off x="292958" y="3064795"/>
            <a:ext cx="6333785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VANÇO TECNOLÓGICO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istemas de certificação da indústria da construção civil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delos de criação e de atualização de normas técnicas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21EB773-C670-A1CE-19D8-D001A229C9D8}"/>
              </a:ext>
            </a:extLst>
          </p:cNvPr>
          <p:cNvSpPr txBox="1"/>
          <p:nvPr/>
        </p:nvSpPr>
        <p:spPr>
          <a:xfrm>
            <a:off x="299632" y="4567884"/>
            <a:ext cx="6672852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UIDAD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dentificação de cordoalha nua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ntrole qualidade do concreto para vigas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é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tracionadas.</a:t>
            </a:r>
          </a:p>
        </p:txBody>
      </p:sp>
      <p:pic>
        <p:nvPicPr>
          <p:cNvPr id="6148" name="Picture 4" descr="Provocações (@abu_provoca) / X">
            <a:extLst>
              <a:ext uri="{FF2B5EF4-FFF2-40B4-BE49-F238E27FC236}">
                <a16:creationId xmlns:a16="http://schemas.microsoft.com/office/drawing/2014/main" id="{300EEBB4-CE25-8B16-B958-D801301CF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9531" y="1657489"/>
            <a:ext cx="1771511" cy="1771511"/>
          </a:xfrm>
          <a:prstGeom prst="rect">
            <a:avLst/>
          </a:prstGeom>
          <a:noFill/>
          <a:effectLst>
            <a:glow rad="139700">
              <a:schemeClr val="accent6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O progresso é impossível sem mudança; e aqueles que não conseguem mudar as suas mentes não conseguem mudar nada.... Frase de George Bernard Shaw.">
            <a:extLst>
              <a:ext uri="{FF2B5EF4-FFF2-40B4-BE49-F238E27FC236}">
                <a16:creationId xmlns:a16="http://schemas.microsoft.com/office/drawing/2014/main" id="{F4F7BCF4-A6FC-5301-84D6-F8FC999C06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825"/>
          <a:stretch/>
        </p:blipFill>
        <p:spPr bwMode="auto">
          <a:xfrm>
            <a:off x="7024154" y="4008015"/>
            <a:ext cx="1882263" cy="1698642"/>
          </a:xfrm>
          <a:prstGeom prst="rect">
            <a:avLst/>
          </a:prstGeom>
          <a:noFill/>
          <a:effectLst>
            <a:glow rad="139700">
              <a:schemeClr val="accent6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4477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9FEFE-3121-4033-B075-5A09F0A59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40583C38-8861-5013-F3D9-A3234355B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76DD4F7C-4FA8-101E-BEAD-D00E86BB0AB2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9ABC9E-9418-2999-0C7B-55A4D0D442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5400320-4CA8-6398-3C02-DD81A0E2B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Resultado de imagem para obrigado">
            <a:extLst>
              <a:ext uri="{FF2B5EF4-FFF2-40B4-BE49-F238E27FC236}">
                <a16:creationId xmlns:a16="http://schemas.microsoft.com/office/drawing/2014/main" id="{B93DD490-4B2E-57FE-8489-123948E0F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752" y="1750763"/>
            <a:ext cx="4744243" cy="26728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" name="Subtítulo 2">
            <a:extLst>
              <a:ext uri="{FF2B5EF4-FFF2-40B4-BE49-F238E27FC236}">
                <a16:creationId xmlns:a16="http://schemas.microsoft.com/office/drawing/2014/main" id="{BF2AD0D2-709D-3021-BB6A-2B8B3AC41569}"/>
              </a:ext>
            </a:extLst>
          </p:cNvPr>
          <p:cNvSpPr txBox="1">
            <a:spLocks/>
          </p:cNvSpPr>
          <p:nvPr/>
        </p:nvSpPr>
        <p:spPr>
          <a:xfrm>
            <a:off x="770896" y="5032927"/>
            <a:ext cx="3134716" cy="4462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berê Martins da Silva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81772BD3-F717-742A-B722-39F6B433A177}"/>
              </a:ext>
            </a:extLst>
          </p:cNvPr>
          <p:cNvSpPr txBox="1">
            <a:spLocks/>
          </p:cNvSpPr>
          <p:nvPr/>
        </p:nvSpPr>
        <p:spPr>
          <a:xfrm>
            <a:off x="4572000" y="4977009"/>
            <a:ext cx="3134716" cy="5581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1" i="1" u="none" strike="noStrike" kern="1200" cap="none" spc="4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ere.silva@outec.com.br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b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sto MT"/>
                <a:ea typeface="+mn-ea"/>
                <a:cs typeface="+mn-cs"/>
              </a:rPr>
            </a:b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ACCF53BB-2CFC-53CB-AF24-575BE9F08489}"/>
              </a:ext>
            </a:extLst>
          </p:cNvPr>
          <p:cNvSpPr txBox="1">
            <a:spLocks/>
          </p:cNvSpPr>
          <p:nvPr/>
        </p:nvSpPr>
        <p:spPr>
          <a:xfrm>
            <a:off x="4572000" y="5723459"/>
            <a:ext cx="4224637" cy="3848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1" i="1" u="none" strike="noStrike" kern="1200" cap="none" spc="5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ttps://www.linkedin.com/in/iberems/</a:t>
            </a:r>
            <a:endParaRPr kumimoji="0" lang="pt-BR" sz="1800" b="0" i="1" u="none" strike="noStrike" kern="1200" cap="none" spc="5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</a:t>
            </a:r>
            <a:b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22A6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agem 6" descr="Logotipo, Ícone&#10;&#10;Descrição gerada automaticamente">
            <a:extLst>
              <a:ext uri="{FF2B5EF4-FFF2-40B4-BE49-F238E27FC236}">
                <a16:creationId xmlns:a16="http://schemas.microsoft.com/office/drawing/2014/main" id="{74181350-D0A7-C417-F561-68CC0D03ED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4" t="29502" r="29192" b="29502"/>
          <a:stretch/>
        </p:blipFill>
        <p:spPr>
          <a:xfrm>
            <a:off x="3912787" y="5019227"/>
            <a:ext cx="542272" cy="522902"/>
          </a:xfrm>
          <a:prstGeom prst="rect">
            <a:avLst/>
          </a:prstGeom>
        </p:spPr>
      </p:pic>
      <p:pic>
        <p:nvPicPr>
          <p:cNvPr id="8" name="Imagem 7" descr="Logotipo&#10;&#10;Descrição gerada automaticamente">
            <a:extLst>
              <a:ext uri="{FF2B5EF4-FFF2-40B4-BE49-F238E27FC236}">
                <a16:creationId xmlns:a16="http://schemas.microsoft.com/office/drawing/2014/main" id="{9AAF9C47-BF04-2059-69AD-F31C3FE1AEB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6" t="29502" r="28814" b="29502"/>
          <a:stretch/>
        </p:blipFill>
        <p:spPr>
          <a:xfrm>
            <a:off x="3912787" y="5738206"/>
            <a:ext cx="532036" cy="518617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97D345C9-A5C2-278E-4F59-53CD6B31C1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2" t="30117" r="24962" b="15208"/>
          <a:stretch/>
        </p:blipFill>
        <p:spPr bwMode="auto">
          <a:xfrm>
            <a:off x="1280637" y="5483771"/>
            <a:ext cx="1727910" cy="864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9398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Edifício de tijolos&#10;&#10;Descrição gerada automaticamente com confiança baixa">
            <a:extLst>
              <a:ext uri="{FF2B5EF4-FFF2-40B4-BE49-F238E27FC236}">
                <a16:creationId xmlns:a16="http://schemas.microsoft.com/office/drawing/2014/main" id="{1CA31369-E8CE-9368-F91D-235E3E4BE2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1" y="1903446"/>
            <a:ext cx="8120339" cy="4950668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710727ED-2671-0BD5-0B45-018C2D386B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" y="-805"/>
            <a:ext cx="7373568" cy="6756168"/>
          </a:xfrm>
          <a:prstGeom prst="rect">
            <a:avLst/>
          </a:prstGeom>
        </p:spPr>
      </p:pic>
      <p:pic>
        <p:nvPicPr>
          <p:cNvPr id="5" name="Graphic 17">
            <a:extLst>
              <a:ext uri="{FF2B5EF4-FFF2-40B4-BE49-F238E27FC236}">
                <a16:creationId xmlns:a16="http://schemas.microsoft.com/office/drawing/2014/main" id="{E135BA87-EF5C-2F32-DA76-BD9282F991B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87029" y="212357"/>
            <a:ext cx="1656650" cy="862634"/>
          </a:xfrm>
          <a:prstGeom prst="rect">
            <a:avLst/>
          </a:prstGeom>
        </p:spPr>
      </p:pic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875DE5B7-A8D3-8721-465C-B2323893FEF8}"/>
              </a:ext>
            </a:extLst>
          </p:cNvPr>
          <p:cNvSpPr txBox="1">
            <a:spLocks/>
          </p:cNvSpPr>
          <p:nvPr/>
        </p:nvSpPr>
        <p:spPr>
          <a:xfrm>
            <a:off x="422357" y="367100"/>
            <a:ext cx="5633209" cy="25912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4400" b="1" dirty="0">
                <a:latin typeface="Aptos ExtraBold" panose="020B0004020202020204" pitchFamily="34" charset="0"/>
                <a:cs typeface="Arial" panose="020B0604020202020204" pitchFamily="34" charset="0"/>
              </a:rPr>
              <a:t>Aços de alta resistência: CA70 AR</a:t>
            </a:r>
          </a:p>
          <a:p>
            <a:pPr marL="0" indent="0">
              <a:buNone/>
            </a:pPr>
            <a:endParaRPr lang="pt-BR" sz="2100" b="1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BR" sz="2100" b="1" dirty="0">
                <a:latin typeface="Aptos" panose="020B0004020202020204" pitchFamily="34" charset="0"/>
                <a:cs typeface="Arial" panose="020B0604020202020204" pitchFamily="34" charset="0"/>
              </a:rPr>
              <a:t>Luís Filipe Araújo</a:t>
            </a:r>
            <a:endParaRPr lang="en-US" sz="2100" b="1" i="1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5966513A-EDEA-863F-CCC9-6E909BF886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6285573" y="248229"/>
            <a:ext cx="1132747" cy="860941"/>
          </a:xfrm>
          <a:prstGeom prst="rect">
            <a:avLst/>
          </a:prstGeom>
        </p:spPr>
      </p:pic>
      <p:pic>
        <p:nvPicPr>
          <p:cNvPr id="9" name="Google Shape;105;g28f92be7fd0_0_10">
            <a:extLst>
              <a:ext uri="{FF2B5EF4-FFF2-40B4-BE49-F238E27FC236}">
                <a16:creationId xmlns:a16="http://schemas.microsoft.com/office/drawing/2014/main" id="{60CD202D-6CBD-D949-C0C3-B2B4C123BC18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918206" y="1374569"/>
            <a:ext cx="1598119" cy="2881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4191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42F152-1F22-9A8A-9263-5721800F1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4678A8D7-5178-33D2-2F15-83E2827557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B3E95CC5-401B-9FE6-3F71-B881CEB9A9A9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6128E3-11BD-D0C3-2AE9-A7232AC77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B5A900B-694C-9DA1-60BF-E059E9FDDA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7933A0A0-9914-EBBB-31E5-F101D13ED05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0360"/>
          <a:stretch/>
        </p:blipFill>
        <p:spPr>
          <a:xfrm>
            <a:off x="784304" y="3429000"/>
            <a:ext cx="3632663" cy="2517849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BB749CB6-3E2B-37DC-FB80-741C8C6E1B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0238" y="1689989"/>
            <a:ext cx="3294876" cy="4779544"/>
          </a:xfrm>
          <a:prstGeom prst="rect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69C660D-6514-83C2-4788-3FE81DBACD2B}"/>
              </a:ext>
            </a:extLst>
          </p:cNvPr>
          <p:cNvSpPr txBox="1"/>
          <p:nvPr/>
        </p:nvSpPr>
        <p:spPr>
          <a:xfrm>
            <a:off x="330599" y="1798054"/>
            <a:ext cx="467307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BNT NBR 7483:202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de aço para estrutura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e concreto protendido - Especificação</a:t>
            </a:r>
          </a:p>
        </p:txBody>
      </p:sp>
    </p:spTree>
    <p:extLst>
      <p:ext uri="{BB962C8B-B14F-4D97-AF65-F5344CB8AC3E}">
        <p14:creationId xmlns:p14="http://schemas.microsoft.com/office/powerpoint/2010/main" val="37473493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2756" y="503667"/>
            <a:ext cx="6202678" cy="688654"/>
          </a:xfrm>
        </p:spPr>
        <p:txBody>
          <a:bodyPr/>
          <a:lstStyle/>
          <a:p>
            <a:r>
              <a:rPr lang="en-GB" sz="2800" dirty="0" err="1">
                <a:solidFill>
                  <a:srgbClr val="FF3700"/>
                </a:solidFill>
                <a:latin typeface="Aptos" panose="020B0004020202020204" pitchFamily="34" charset="0"/>
              </a:rPr>
              <a:t>Ambiente</a:t>
            </a:r>
            <a:r>
              <a:rPr lang="en-GB" sz="2800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sz="2800" dirty="0" err="1">
                <a:solidFill>
                  <a:srgbClr val="FF3700"/>
                </a:solidFill>
                <a:latin typeface="Aptos" panose="020B0004020202020204" pitchFamily="34" charset="0"/>
              </a:rPr>
              <a:t>colaborativo</a:t>
            </a:r>
            <a:endParaRPr lang="en-GB" sz="2800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3" name="Imagem 2" descr="Placa branca com letras pretas&#10;&#10;Descrição gerada automaticamente com confiança média">
            <a:extLst>
              <a:ext uri="{FF2B5EF4-FFF2-40B4-BE49-F238E27FC236}">
                <a16:creationId xmlns:a16="http://schemas.microsoft.com/office/drawing/2014/main" id="{24872CBE-8668-0A3B-B168-45E675A1777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27" y="3170870"/>
            <a:ext cx="1598119" cy="258130"/>
          </a:xfrm>
          <a:prstGeom prst="rect">
            <a:avLst/>
          </a:prstGeom>
        </p:spPr>
      </p:pic>
      <p:pic>
        <p:nvPicPr>
          <p:cNvPr id="5" name="Google Shape;105;g28f92be7fd0_0_10">
            <a:extLst>
              <a:ext uri="{FF2B5EF4-FFF2-40B4-BE49-F238E27FC236}">
                <a16:creationId xmlns:a16="http://schemas.microsoft.com/office/drawing/2014/main" id="{8AE387C0-288F-F502-4D88-72A16285456A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27460" y="5358898"/>
            <a:ext cx="1880617" cy="339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2" descr="Steligence® | ArcelorMittal">
            <a:extLst>
              <a:ext uri="{FF2B5EF4-FFF2-40B4-BE49-F238E27FC236}">
                <a16:creationId xmlns:a16="http://schemas.microsoft.com/office/drawing/2014/main" id="{3F9C5F74-89C6-69FD-8661-87C0BB72FD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27" y="3823998"/>
            <a:ext cx="1598119" cy="836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17">
            <a:extLst>
              <a:ext uri="{FF2B5EF4-FFF2-40B4-BE49-F238E27FC236}">
                <a16:creationId xmlns:a16="http://schemas.microsoft.com/office/drawing/2014/main" id="{C572D671-878E-35FB-1BD7-CAE8A73B932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0997" y="1939327"/>
            <a:ext cx="1606548" cy="836546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E672C47-E8BF-FE84-E4E7-9C2329DCFF8E}"/>
              </a:ext>
            </a:extLst>
          </p:cNvPr>
          <p:cNvSpPr txBox="1"/>
          <p:nvPr/>
        </p:nvSpPr>
        <p:spPr>
          <a:xfrm rot="16200000">
            <a:off x="2392666" y="2709770"/>
            <a:ext cx="22092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/>
            <a:r>
              <a:rPr lang="pt-BR" sz="1400" b="1" dirty="0">
                <a:solidFill>
                  <a:srgbClr val="FF3700"/>
                </a:solidFill>
                <a:latin typeface="Aptos" panose="020B0004020202020204" pitchFamily="34" charset="0"/>
                <a:ea typeface="MS PGothic"/>
              </a:rPr>
              <a:t>Entidades Técnicas &amp; Institucionais 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12C6616B-0C5C-F041-869C-12A06E4C562B}"/>
              </a:ext>
            </a:extLst>
          </p:cNvPr>
          <p:cNvSpPr txBox="1"/>
          <p:nvPr/>
        </p:nvSpPr>
        <p:spPr>
          <a:xfrm rot="16200000">
            <a:off x="2673987" y="5258888"/>
            <a:ext cx="16065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/>
            <a:r>
              <a:rPr lang="pt-BR" sz="1400" b="1" dirty="0">
                <a:solidFill>
                  <a:srgbClr val="FF3700"/>
                </a:solidFill>
                <a:latin typeface="Aptos" panose="020B0004020202020204" pitchFamily="34" charset="0"/>
                <a:ea typeface="MS PGothic"/>
              </a:rPr>
              <a:t>Clientes e mercado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D2BDBA26-BCB0-8FF7-F72D-92B7596E4050}"/>
              </a:ext>
            </a:extLst>
          </p:cNvPr>
          <p:cNvSpPr txBox="1"/>
          <p:nvPr/>
        </p:nvSpPr>
        <p:spPr>
          <a:xfrm>
            <a:off x="4132004" y="4734968"/>
            <a:ext cx="2744620" cy="1682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sz="2000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Projetistas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b="1" kern="0" baseline="-25000" dirty="0" err="1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Pré-fabricadores</a:t>
            </a:r>
            <a:endParaRPr lang="pt-BR" sz="2000" b="1" kern="0" baseline="-25000" dirty="0">
              <a:solidFill>
                <a:srgbClr val="414141"/>
              </a:solidFill>
              <a:latin typeface="Aptos" panose="020B0004020202020204" pitchFamily="34" charset="0"/>
              <a:ea typeface="MS PGothic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Construtoras 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Incorporadoras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Startups</a:t>
            </a:r>
            <a:br>
              <a:rPr lang="pt-BR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</a:br>
            <a:r>
              <a:rPr lang="pt-BR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Softwares</a:t>
            </a:r>
            <a:endParaRPr lang="pt-BR" dirty="0">
              <a:solidFill>
                <a:srgbClr val="414141"/>
              </a:solidFill>
              <a:latin typeface="Aptos" panose="020B0004020202020204" pitchFamily="34" charset="0"/>
              <a:ea typeface="MS PGothic"/>
            </a:endParaRP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7A11AE67-D9E2-12B0-EA32-8DBB72F5B448}"/>
              </a:ext>
            </a:extLst>
          </p:cNvPr>
          <p:cNvCxnSpPr>
            <a:cxnSpLocks/>
          </p:cNvCxnSpPr>
          <p:nvPr/>
        </p:nvCxnSpPr>
        <p:spPr bwMode="auto">
          <a:xfrm>
            <a:off x="2833648" y="2244977"/>
            <a:ext cx="0" cy="3372052"/>
          </a:xfrm>
          <a:prstGeom prst="line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ADF2FA57-9799-9D4F-D5A5-43AD18AAA2EB}"/>
              </a:ext>
            </a:extLst>
          </p:cNvPr>
          <p:cNvSpPr/>
          <p:nvPr/>
        </p:nvSpPr>
        <p:spPr bwMode="auto">
          <a:xfrm>
            <a:off x="6709097" y="3897893"/>
            <a:ext cx="1316292" cy="339383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pt-BR" sz="1200" b="1" kern="0" baseline="-25000" dirty="0">
                <a:solidFill>
                  <a:srgbClr val="414141"/>
                </a:solidFill>
                <a:latin typeface="Aptos" panose="020B0004020202020204" pitchFamily="34" charset="0"/>
                <a:ea typeface="MS PGothic"/>
              </a:rPr>
              <a:t>Universidades</a:t>
            </a:r>
            <a:endParaRPr lang="pt-BR" sz="1000" b="1" kern="0" baseline="-25000" dirty="0">
              <a:solidFill>
                <a:srgbClr val="414141"/>
              </a:solidFill>
              <a:latin typeface="Aptos" panose="020B0004020202020204" pitchFamily="34" charset="0"/>
              <a:ea typeface="MS PGothic"/>
            </a:endParaRPr>
          </a:p>
        </p:txBody>
      </p:sp>
      <p:pic>
        <p:nvPicPr>
          <p:cNvPr id="9" name="Picture 20" descr="ABTC | LinkedIn">
            <a:extLst>
              <a:ext uri="{FF2B5EF4-FFF2-40B4-BE49-F238E27FC236}">
                <a16:creationId xmlns:a16="http://schemas.microsoft.com/office/drawing/2014/main" id="{AD8DD491-C29C-D7BB-5DA9-60A07BB92A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2" t="28993" r="11967" b="21659"/>
          <a:stretch/>
        </p:blipFill>
        <p:spPr bwMode="auto">
          <a:xfrm>
            <a:off x="6754877" y="2539122"/>
            <a:ext cx="590795" cy="38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2" descr="Aço Brasil – Cai a produção e disparam as importações | Portal Siderurgia  Brasil | Notícias sobre a Indústria Siderúrgica">
            <a:extLst>
              <a:ext uri="{FF2B5EF4-FFF2-40B4-BE49-F238E27FC236}">
                <a16:creationId xmlns:a16="http://schemas.microsoft.com/office/drawing/2014/main" id="{ED5543C6-5220-7D8B-8F61-E7B0E65BC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778" y="1606922"/>
            <a:ext cx="512020" cy="59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2" descr="ABECE Assoc. Bras. Eng. Consultoria Estrutural - YouTube">
            <a:extLst>
              <a:ext uri="{FF2B5EF4-FFF2-40B4-BE49-F238E27FC236}">
                <a16:creationId xmlns:a16="http://schemas.microsoft.com/office/drawing/2014/main" id="{A1B7201D-35E7-D3F8-AE03-B9962765F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863" y="1705801"/>
            <a:ext cx="512020" cy="512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6" descr="ABNT Normas Técnicas | São Paulo SP | Facebook">
            <a:extLst>
              <a:ext uri="{FF2B5EF4-FFF2-40B4-BE49-F238E27FC236}">
                <a16:creationId xmlns:a16="http://schemas.microsoft.com/office/drawing/2014/main" id="{FBCC5685-43B7-392C-DC0D-D77FAEB54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4192" y="3172560"/>
            <a:ext cx="512022" cy="554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" descr="IBTS Instituto Brasileiro de Telas Soldadas | LinkedIn">
            <a:extLst>
              <a:ext uri="{FF2B5EF4-FFF2-40B4-BE49-F238E27FC236}">
                <a16:creationId xmlns:a16="http://schemas.microsoft.com/office/drawing/2014/main" id="{4FD55092-CA11-AB60-ADD8-F49813C1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582" y="2365657"/>
            <a:ext cx="590794" cy="590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0" descr="ABCP - Associação Brasileira de Cimento Portland - ABIFER">
            <a:extLst>
              <a:ext uri="{FF2B5EF4-FFF2-40B4-BE49-F238E27FC236}">
                <a16:creationId xmlns:a16="http://schemas.microsoft.com/office/drawing/2014/main" id="{047EF4A9-3A7D-217B-93FC-AE8CDBEB16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59" b="30421"/>
          <a:stretch/>
        </p:blipFill>
        <p:spPr bwMode="auto">
          <a:xfrm>
            <a:off x="4282592" y="2565876"/>
            <a:ext cx="787328" cy="306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ABCIC realizará seminário regional em Santa Catarina - CBIC – Câmara  Brasileira da Industria da Construção">
            <a:extLst>
              <a:ext uri="{FF2B5EF4-FFF2-40B4-BE49-F238E27FC236}">
                <a16:creationId xmlns:a16="http://schemas.microsoft.com/office/drawing/2014/main" id="{BD350E2E-7EBE-5ACC-38EA-A9CE351DF5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6818" y="1549087"/>
            <a:ext cx="1020897" cy="990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ome Hubic - Hubic -O seu Hub de Inovação na Construção">
            <a:extLst>
              <a:ext uri="{FF2B5EF4-FFF2-40B4-BE49-F238E27FC236}">
                <a16:creationId xmlns:a16="http://schemas.microsoft.com/office/drawing/2014/main" id="{C71A620D-51AE-5D3E-A186-D24C3C82DC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496" y="1743560"/>
            <a:ext cx="724776" cy="24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Profile for ABC Modular">
            <a:extLst>
              <a:ext uri="{FF2B5EF4-FFF2-40B4-BE49-F238E27FC236}">
                <a16:creationId xmlns:a16="http://schemas.microsoft.com/office/drawing/2014/main" id="{9F039C70-276E-ACC7-3396-972A8BFFE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172" y="2406635"/>
            <a:ext cx="668481" cy="668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CICS USP">
            <a:extLst>
              <a:ext uri="{FF2B5EF4-FFF2-40B4-BE49-F238E27FC236}">
                <a16:creationId xmlns:a16="http://schemas.microsoft.com/office/drawing/2014/main" id="{5DA97025-F937-CC0A-CA55-6D4120AF76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28" b="29879"/>
          <a:stretch/>
        </p:blipFill>
        <p:spPr bwMode="auto">
          <a:xfrm>
            <a:off x="6754877" y="3310840"/>
            <a:ext cx="874997" cy="387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IMxr | Soluções para seu cliente">
            <a:extLst>
              <a:ext uri="{FF2B5EF4-FFF2-40B4-BE49-F238E27FC236}">
                <a16:creationId xmlns:a16="http://schemas.microsoft.com/office/drawing/2014/main" id="{488F32EA-19B4-EC05-AB00-3E3F3A01E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28" y="3299935"/>
            <a:ext cx="922743" cy="461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4" descr="Como ingressar na USP? - Curso Anglo">
            <a:extLst>
              <a:ext uri="{FF2B5EF4-FFF2-40B4-BE49-F238E27FC236}">
                <a16:creationId xmlns:a16="http://schemas.microsoft.com/office/drawing/2014/main" id="{C987C936-0B57-14E3-208E-456A75CDB3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4" t="28533" r="15190" b="26490"/>
          <a:stretch/>
        </p:blipFill>
        <p:spPr bwMode="auto">
          <a:xfrm>
            <a:off x="5861447" y="3989611"/>
            <a:ext cx="773529" cy="387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20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id="{90897785-EF39-137A-BD32-F87BAFD8789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26557" y="2967452"/>
            <a:ext cx="962261" cy="962261"/>
          </a:xfrm>
          <a:prstGeom prst="rect">
            <a:avLst/>
          </a:prstGeom>
        </p:spPr>
      </p:pic>
      <p:pic>
        <p:nvPicPr>
          <p:cNvPr id="1026" name="Picture 2" descr="ABRAMAT | LinkedIn">
            <a:extLst>
              <a:ext uri="{FF2B5EF4-FFF2-40B4-BE49-F238E27FC236}">
                <a16:creationId xmlns:a16="http://schemas.microsoft.com/office/drawing/2014/main" id="{2DD60C21-EF37-1794-7AA3-18C6AAD04D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53" b="20653"/>
          <a:stretch/>
        </p:blipFill>
        <p:spPr bwMode="auto">
          <a:xfrm>
            <a:off x="4279786" y="3844462"/>
            <a:ext cx="847650" cy="49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054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2756" y="382555"/>
            <a:ext cx="6202678" cy="930878"/>
          </a:xfrm>
        </p:spPr>
        <p:txBody>
          <a:bodyPr/>
          <a:lstStyle/>
          <a:p>
            <a:r>
              <a:rPr lang="en-GB" sz="280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Soluções</a:t>
            </a:r>
            <a: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sz="280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em</a:t>
            </a:r>
            <a: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sz="280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aço</a:t>
            </a:r>
            <a:endParaRPr lang="en-GB" sz="2800" b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2EE49D0-3F32-E55F-C544-FC940CDA0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11767324" y="6309320"/>
            <a:ext cx="40736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6EE6031-0A2D-4C00-8E5B-10FAE43132E6}" type="slidenum">
              <a:rPr lang="pt-BR" altLang="pt-BR" sz="1400">
                <a:solidFill>
                  <a:srgbClr val="FFFFFF"/>
                </a:solidFill>
                <a:latin typeface="Montserrat" panose="00000500000000000000" pitchFamily="50" charset="0"/>
              </a:rPr>
              <a:pPr>
                <a:spcBef>
                  <a:spcPct val="0"/>
                </a:spcBef>
                <a:buFontTx/>
                <a:buNone/>
              </a:pPr>
              <a:t>21</a:t>
            </a:fld>
            <a:endParaRPr lang="pt-BR" altLang="pt-BR" sz="1400">
              <a:solidFill>
                <a:srgbClr val="FFFFFF"/>
              </a:solidFill>
              <a:latin typeface="Montserrat" panose="00000500000000000000" pitchFamily="50" charset="0"/>
            </a:endParaRPr>
          </a:p>
        </p:txBody>
      </p:sp>
      <p:pic>
        <p:nvPicPr>
          <p:cNvPr id="17" name="Imagem 16" descr="Logotipo&#10;&#10;Descrição gerada automaticamente">
            <a:extLst>
              <a:ext uri="{FF2B5EF4-FFF2-40B4-BE49-F238E27FC236}">
                <a16:creationId xmlns:a16="http://schemas.microsoft.com/office/drawing/2014/main" id="{7C950728-AADC-B34B-31E2-B3000797C8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9" y="3472259"/>
            <a:ext cx="792594" cy="604469"/>
          </a:xfrm>
          <a:prstGeom prst="rect">
            <a:avLst/>
          </a:prstGeom>
        </p:spPr>
      </p:pic>
      <p:pic>
        <p:nvPicPr>
          <p:cNvPr id="18" name="Imagem 17" descr="Ícone&#10;&#10;Descrição gerada automaticamente">
            <a:extLst>
              <a:ext uri="{FF2B5EF4-FFF2-40B4-BE49-F238E27FC236}">
                <a16:creationId xmlns:a16="http://schemas.microsoft.com/office/drawing/2014/main" id="{EABDDC46-9021-9511-F393-968FF941E4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119" y="4508461"/>
            <a:ext cx="560317" cy="565920"/>
          </a:xfrm>
          <a:prstGeom prst="rect">
            <a:avLst/>
          </a:prstGeom>
        </p:spPr>
      </p:pic>
      <p:pic>
        <p:nvPicPr>
          <p:cNvPr id="19" name="Imagem 18" descr="Desenho de uma pessoa&#10;&#10;Descrição gerada automaticamente com confiança baixa">
            <a:extLst>
              <a:ext uri="{FF2B5EF4-FFF2-40B4-BE49-F238E27FC236}">
                <a16:creationId xmlns:a16="http://schemas.microsoft.com/office/drawing/2014/main" id="{A8CB4595-2EFD-19AE-810F-A30EAEE4A3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90" y="2435666"/>
            <a:ext cx="662193" cy="604860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63A80A85-04EE-7422-DDAC-AFD1DF8A0CC7}"/>
              </a:ext>
            </a:extLst>
          </p:cNvPr>
          <p:cNvSpPr txBox="1"/>
          <p:nvPr/>
        </p:nvSpPr>
        <p:spPr>
          <a:xfrm>
            <a:off x="1144661" y="2519836"/>
            <a:ext cx="327258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strialização dos elementos;</a:t>
            </a:r>
          </a:p>
          <a:p>
            <a:endParaRPr lang="pt-BR" sz="2000" b="1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mento da produtividade;</a:t>
            </a:r>
          </a:p>
          <a:p>
            <a:endParaRPr lang="pt-BR" sz="2000" b="1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stentabilidade da cadeia de construção.</a:t>
            </a:r>
          </a:p>
        </p:txBody>
      </p:sp>
      <p:pic>
        <p:nvPicPr>
          <p:cNvPr id="22" name="Imagem 21" descr="Pessoas na frente de uma cerca&#10;&#10;Descrição gerada automaticamente com confiança baixa">
            <a:extLst>
              <a:ext uri="{FF2B5EF4-FFF2-40B4-BE49-F238E27FC236}">
                <a16:creationId xmlns:a16="http://schemas.microsoft.com/office/drawing/2014/main" id="{A218CD07-A22B-2EA0-71C0-6AD62FD3BA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0" r="3450"/>
          <a:stretch/>
        </p:blipFill>
        <p:spPr>
          <a:xfrm>
            <a:off x="4114921" y="3931674"/>
            <a:ext cx="3495213" cy="2285414"/>
          </a:xfrm>
          <a:prstGeom prst="rect">
            <a:avLst/>
          </a:prstGeom>
        </p:spPr>
      </p:pic>
      <p:pic>
        <p:nvPicPr>
          <p:cNvPr id="23" name="Picture 2" descr="Armadura Pronta Soldada | ArcelorMittal">
            <a:extLst>
              <a:ext uri="{FF2B5EF4-FFF2-40B4-BE49-F238E27FC236}">
                <a16:creationId xmlns:a16="http://schemas.microsoft.com/office/drawing/2014/main" id="{1171B839-68B3-7304-0B50-310D35CEF1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4" t="123" r="2069" b="-123"/>
          <a:stretch/>
        </p:blipFill>
        <p:spPr bwMode="auto">
          <a:xfrm>
            <a:off x="4816615" y="1170755"/>
            <a:ext cx="3759191" cy="2461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926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2756" y="382555"/>
            <a:ext cx="6202678" cy="930878"/>
          </a:xfrm>
        </p:spPr>
        <p:txBody>
          <a:bodyPr/>
          <a:lstStyle/>
          <a:p>
            <a: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  <a:t>Steligence</a:t>
            </a:r>
            <a:b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</a:br>
            <a:endParaRPr lang="en-GB" sz="2800" b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2EE49D0-3F32-E55F-C544-FC940CDA0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11767324" y="6309320"/>
            <a:ext cx="40736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6EE6031-0A2D-4C00-8E5B-10FAE43132E6}" type="slidenum">
              <a:rPr lang="pt-BR" altLang="pt-BR" sz="1400">
                <a:solidFill>
                  <a:srgbClr val="FFFFFF"/>
                </a:solidFill>
                <a:latin typeface="Montserrat" panose="00000500000000000000" pitchFamily="50" charset="0"/>
              </a:rPr>
              <a:pPr>
                <a:spcBef>
                  <a:spcPct val="0"/>
                </a:spcBef>
                <a:buFontTx/>
                <a:buNone/>
              </a:pPr>
              <a:t>22</a:t>
            </a:fld>
            <a:endParaRPr lang="pt-BR" altLang="pt-BR" sz="1400">
              <a:solidFill>
                <a:srgbClr val="FFFFFF"/>
              </a:solidFill>
              <a:latin typeface="Montserrat" panose="00000500000000000000" pitchFamily="50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19B11CA-D845-634D-073B-378A46974EFB}"/>
              </a:ext>
            </a:extLst>
          </p:cNvPr>
          <p:cNvSpPr txBox="1">
            <a:spLocks/>
          </p:cNvSpPr>
          <p:nvPr/>
        </p:nvSpPr>
        <p:spPr bwMode="auto">
          <a:xfrm>
            <a:off x="221853" y="2328072"/>
            <a:ext cx="406343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749" indent="0" algn="just" defTabSz="1219232">
              <a:buClr>
                <a:srgbClr val="414141"/>
              </a:buClr>
              <a:buNone/>
            </a:pPr>
            <a:r>
              <a:rPr lang="pt-BR" sz="1600" dirty="0">
                <a:solidFill>
                  <a:srgbClr val="414141"/>
                </a:solidFill>
                <a:latin typeface="Arial"/>
              </a:rPr>
              <a:t>Uma metodologia com uma </a:t>
            </a:r>
            <a:r>
              <a:rPr lang="pt-BR" sz="1600" dirty="0">
                <a:solidFill>
                  <a:srgbClr val="FF3700"/>
                </a:solidFill>
                <a:latin typeface="Arial"/>
              </a:rPr>
              <a:t>abordagem holística </a:t>
            </a:r>
            <a:r>
              <a:rPr lang="pt-BR" sz="1600" dirty="0">
                <a:solidFill>
                  <a:srgbClr val="414141"/>
                </a:solidFill>
                <a:latin typeface="Arial"/>
              </a:rPr>
              <a:t>para atender às exigências da </a:t>
            </a:r>
            <a:r>
              <a:rPr lang="pt-BR" sz="1600" dirty="0">
                <a:solidFill>
                  <a:srgbClr val="FF3700"/>
                </a:solidFill>
                <a:latin typeface="Arial"/>
              </a:rPr>
              <a:t>construção sustentável</a:t>
            </a:r>
            <a:r>
              <a:rPr lang="pt-BR" sz="1600" dirty="0">
                <a:solidFill>
                  <a:srgbClr val="414141"/>
                </a:solidFill>
                <a:latin typeface="Arial"/>
              </a:rPr>
              <a:t>. Projetada para dar suporte aos players da construção no desenvolvimento de </a:t>
            </a:r>
            <a:r>
              <a:rPr lang="pt-BR" sz="1600" dirty="0">
                <a:solidFill>
                  <a:srgbClr val="FF3700"/>
                </a:solidFill>
                <a:latin typeface="Arial"/>
              </a:rPr>
              <a:t>edificações inovadoras</a:t>
            </a:r>
            <a:r>
              <a:rPr lang="pt-BR" sz="1600" dirty="0">
                <a:solidFill>
                  <a:srgbClr val="414141"/>
                </a:solidFill>
                <a:latin typeface="Arial"/>
              </a:rPr>
              <a:t>, </a:t>
            </a:r>
            <a:r>
              <a:rPr lang="pt-BR" sz="1600" dirty="0">
                <a:solidFill>
                  <a:srgbClr val="FF3700"/>
                </a:solidFill>
                <a:latin typeface="Arial"/>
              </a:rPr>
              <a:t>rentáveis</a:t>
            </a:r>
            <a:r>
              <a:rPr lang="pt-BR" sz="1600" dirty="0">
                <a:solidFill>
                  <a:srgbClr val="414141"/>
                </a:solidFill>
                <a:latin typeface="Arial"/>
              </a:rPr>
              <a:t> e </a:t>
            </a:r>
            <a:r>
              <a:rPr lang="pt-BR" sz="1600" dirty="0">
                <a:solidFill>
                  <a:srgbClr val="FF3700"/>
                </a:solidFill>
                <a:latin typeface="Arial"/>
              </a:rPr>
              <a:t>sustentáveis</a:t>
            </a:r>
            <a:r>
              <a:rPr lang="pt-BR" sz="1600" dirty="0">
                <a:solidFill>
                  <a:srgbClr val="414141"/>
                </a:solidFill>
                <a:latin typeface="Arial"/>
              </a:rPr>
              <a:t>.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76EDBB87-5728-CED2-EC9C-941E9B0E48BF}"/>
              </a:ext>
            </a:extLst>
          </p:cNvPr>
          <p:cNvGrpSpPr>
            <a:grpSpLocks noChangeAspect="1"/>
          </p:cNvGrpSpPr>
          <p:nvPr/>
        </p:nvGrpSpPr>
        <p:grpSpPr>
          <a:xfrm>
            <a:off x="288868" y="4461110"/>
            <a:ext cx="3866572" cy="1280335"/>
            <a:chOff x="579354" y="950120"/>
            <a:chExt cx="4394429" cy="1455123"/>
          </a:xfrm>
        </p:grpSpPr>
        <p:pic>
          <p:nvPicPr>
            <p:cNvPr id="19" name="Imagem 18" descr="Uma imagem contendo Logotipo&#10;&#10;Descrição gerada automaticamente">
              <a:extLst>
                <a:ext uri="{FF2B5EF4-FFF2-40B4-BE49-F238E27FC236}">
                  <a16:creationId xmlns:a16="http://schemas.microsoft.com/office/drawing/2014/main" id="{51584612-2314-FE1E-4CE1-76F8114CA2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93" t="21112" r="19037" b="13109"/>
            <a:stretch/>
          </p:blipFill>
          <p:spPr>
            <a:xfrm>
              <a:off x="579354" y="1005309"/>
              <a:ext cx="1284348" cy="1372131"/>
            </a:xfrm>
            <a:prstGeom prst="rect">
              <a:avLst/>
            </a:prstGeom>
          </p:spPr>
        </p:pic>
        <p:pic>
          <p:nvPicPr>
            <p:cNvPr id="20" name="Imagem 19" descr="Ícone&#10;&#10;Descrição gerada automaticamente com confiança média">
              <a:extLst>
                <a:ext uri="{FF2B5EF4-FFF2-40B4-BE49-F238E27FC236}">
                  <a16:creationId xmlns:a16="http://schemas.microsoft.com/office/drawing/2014/main" id="{C923ED6B-237E-8F87-2708-E22171DB89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502" t="16514" r="14000" b="14628"/>
            <a:stretch/>
          </p:blipFill>
          <p:spPr>
            <a:xfrm>
              <a:off x="2125434" y="950120"/>
              <a:ext cx="1426369" cy="1455123"/>
            </a:xfrm>
            <a:prstGeom prst="rect">
              <a:avLst/>
            </a:prstGeom>
          </p:spPr>
        </p:pic>
        <p:pic>
          <p:nvPicPr>
            <p:cNvPr id="21" name="Imagem 20" descr="Ícone&#10;&#10;Descrição gerada automaticamente">
              <a:extLst>
                <a:ext uri="{FF2B5EF4-FFF2-40B4-BE49-F238E27FC236}">
                  <a16:creationId xmlns:a16="http://schemas.microsoft.com/office/drawing/2014/main" id="{21DE394B-0C3F-232B-5447-43085BBC2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26" t="8604" r="16411" b="6859"/>
            <a:stretch/>
          </p:blipFill>
          <p:spPr>
            <a:xfrm>
              <a:off x="3813535" y="1005308"/>
              <a:ext cx="1160248" cy="1399935"/>
            </a:xfrm>
            <a:prstGeom prst="rect">
              <a:avLst/>
            </a:prstGeom>
          </p:spPr>
        </p:pic>
      </p:grpSp>
      <p:pic>
        <p:nvPicPr>
          <p:cNvPr id="22" name="Imagem 34">
            <a:extLst>
              <a:ext uri="{FF2B5EF4-FFF2-40B4-BE49-F238E27FC236}">
                <a16:creationId xmlns:a16="http://schemas.microsoft.com/office/drawing/2014/main" id="{3802FBBA-6ACB-BD5F-EDCE-77BFCCB99E9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clrChange>
              <a:clrFrom>
                <a:srgbClr val="F3F2EB"/>
              </a:clrFrom>
              <a:clrTo>
                <a:srgbClr val="F3F2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1267" y="446166"/>
            <a:ext cx="1596789" cy="867267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A2426879-8743-DA0C-9F79-BB29E03EBE5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021" r="857" b="278"/>
          <a:stretch/>
        </p:blipFill>
        <p:spPr>
          <a:xfrm>
            <a:off x="4524795" y="1459360"/>
            <a:ext cx="1654128" cy="2341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E597E70F-3A02-D92C-C2FF-093AE1C5F4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9906" y="1906950"/>
            <a:ext cx="1644332" cy="2341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2B072BCF-D391-05C2-D1FB-D89EAE254AC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99624" y="2493574"/>
            <a:ext cx="1654129" cy="2341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E5BCE25F-9F05-4061-C4CC-8DD064D2944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60432" y="3282992"/>
            <a:ext cx="1603039" cy="2341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69972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2756" y="382555"/>
            <a:ext cx="6202678" cy="930878"/>
          </a:xfrm>
        </p:spPr>
        <p:txBody>
          <a:bodyPr/>
          <a:lstStyle/>
          <a:p>
            <a: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  <a:t>ArcelorMittal 70 S AR</a:t>
            </a:r>
            <a:endParaRPr lang="en-GB" sz="2800" b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2EE49D0-3F32-E55F-C544-FC940CDA0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11767324" y="6309320"/>
            <a:ext cx="40736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6EE6031-0A2D-4C00-8E5B-10FAE43132E6}" type="slidenum">
              <a:rPr lang="pt-BR" altLang="pt-BR" sz="1400">
                <a:solidFill>
                  <a:srgbClr val="FFFFFF"/>
                </a:solidFill>
                <a:latin typeface="Montserrat" panose="00000500000000000000" pitchFamily="50" charset="0"/>
              </a:rPr>
              <a:pPr>
                <a:spcBef>
                  <a:spcPct val="0"/>
                </a:spcBef>
                <a:buFontTx/>
                <a:buNone/>
              </a:pPr>
              <a:t>23</a:t>
            </a:fld>
            <a:endParaRPr lang="pt-BR" altLang="pt-BR" sz="1400">
              <a:solidFill>
                <a:srgbClr val="FFFFFF"/>
              </a:solidFill>
              <a:latin typeface="Montserrat" panose="00000500000000000000" pitchFamily="50" charset="0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D0F3354D-B7A1-DFA5-772D-D0C2D1A53214}"/>
              </a:ext>
            </a:extLst>
          </p:cNvPr>
          <p:cNvGrpSpPr/>
          <p:nvPr/>
        </p:nvGrpSpPr>
        <p:grpSpPr>
          <a:xfrm>
            <a:off x="122903" y="2306049"/>
            <a:ext cx="3305477" cy="3280041"/>
            <a:chOff x="424676" y="1196752"/>
            <a:chExt cx="5916558" cy="5871029"/>
          </a:xfrm>
        </p:grpSpPr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5156A4D0-F1D7-A5F0-E820-FAC54A025810}"/>
                </a:ext>
              </a:extLst>
            </p:cNvPr>
            <p:cNvSpPr/>
            <p:nvPr/>
          </p:nvSpPr>
          <p:spPr>
            <a:xfrm>
              <a:off x="424676" y="1196752"/>
              <a:ext cx="5916558" cy="5871029"/>
            </a:xfrm>
            <a:prstGeom prst="ellipse">
              <a:avLst/>
            </a:prstGeom>
            <a:gradFill flip="none" rotWithShape="1">
              <a:gsLst>
                <a:gs pos="27000">
                  <a:srgbClr val="A30285"/>
                </a:gs>
                <a:gs pos="57000">
                  <a:srgbClr val="FB3C3A"/>
                </a:gs>
                <a:gs pos="83000">
                  <a:srgbClr val="FE8D4A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7" name="Imagem 6" descr="Imagem em preto e branco&#10;&#10;Descrição gerada automaticamente com confiança média">
              <a:extLst>
                <a:ext uri="{FF2B5EF4-FFF2-40B4-BE49-F238E27FC236}">
                  <a16:creationId xmlns:a16="http://schemas.microsoft.com/office/drawing/2014/main" id="{51F9874B-C5F8-B233-FC91-5D8F396AC4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026" t="-9850" r="-3370" b="-13209"/>
            <a:stretch/>
          </p:blipFill>
          <p:spPr>
            <a:xfrm>
              <a:off x="513609" y="1362435"/>
              <a:ext cx="5709661" cy="5539661"/>
            </a:xfrm>
            <a:prstGeom prst="ellipse">
              <a:avLst/>
            </a:prstGeom>
            <a:solidFill>
              <a:schemeClr val="bg1"/>
            </a:solidFill>
          </p:spPr>
        </p:pic>
      </p:grpSp>
      <p:sp>
        <p:nvSpPr>
          <p:cNvPr id="8" name="CaixaDeTexto 7">
            <a:extLst>
              <a:ext uri="{FF2B5EF4-FFF2-40B4-BE49-F238E27FC236}">
                <a16:creationId xmlns:a16="http://schemas.microsoft.com/office/drawing/2014/main" id="{087E8C64-8816-158B-3CA5-61496D95C39A}"/>
              </a:ext>
            </a:extLst>
          </p:cNvPr>
          <p:cNvSpPr txBox="1"/>
          <p:nvPr/>
        </p:nvSpPr>
        <p:spPr>
          <a:xfrm>
            <a:off x="3619478" y="1883257"/>
            <a:ext cx="527609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B3C3A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dável;</a:t>
            </a:r>
          </a:p>
          <a:p>
            <a:pPr marL="342900" indent="-342900">
              <a:buClr>
                <a:srgbClr val="FB3C3A"/>
              </a:buClr>
              <a:buSzPct val="150000"/>
              <a:buFont typeface="Wingdings" panose="05000000000000000000" pitchFamily="2" charset="2"/>
              <a:buChar char="§"/>
            </a:pPr>
            <a:endParaRPr lang="pt-BR" sz="2400" b="1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Clr>
                <a:srgbClr val="FB3C3A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mite de escoamento de 700MPa;</a:t>
            </a:r>
          </a:p>
          <a:p>
            <a:pPr marL="342900" indent="-342900">
              <a:buClr>
                <a:srgbClr val="FB3C3A"/>
              </a:buClr>
              <a:buSzPct val="150000"/>
              <a:buFont typeface="Wingdings" panose="05000000000000000000" pitchFamily="2" charset="2"/>
              <a:buChar char="§"/>
            </a:pPr>
            <a:endParaRPr lang="pt-BR" sz="2400" b="1" dirty="0">
              <a:solidFill>
                <a:schemeClr val="tx1">
                  <a:lumMod val="75000"/>
                  <a:lumOff val="25000"/>
                </a:schemeClr>
              </a:solidFill>
              <a:latin typeface="Aptos" panose="020B0004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Clr>
                <a:srgbClr val="FB3C3A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ptos" panose="020B0004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istência à tração 40% superior ao vergalhão convencional;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D7DEE177-CD43-5337-DFBF-D34F7069D7EF}"/>
              </a:ext>
            </a:extLst>
          </p:cNvPr>
          <p:cNvGrpSpPr/>
          <p:nvPr/>
        </p:nvGrpSpPr>
        <p:grpSpPr>
          <a:xfrm>
            <a:off x="3893638" y="4453013"/>
            <a:ext cx="3273509" cy="2221432"/>
            <a:chOff x="7155479" y="2641278"/>
            <a:chExt cx="4843708" cy="3286982"/>
          </a:xfrm>
        </p:grpSpPr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46C44FA9-EED2-9F43-9717-A2B306E77A13}"/>
                </a:ext>
              </a:extLst>
            </p:cNvPr>
            <p:cNvGrpSpPr/>
            <p:nvPr/>
          </p:nvGrpSpPr>
          <p:grpSpPr>
            <a:xfrm>
              <a:off x="7155479" y="4818282"/>
              <a:ext cx="4611845" cy="1109978"/>
              <a:chOff x="5529944" y="4552869"/>
              <a:chExt cx="6397101" cy="1539653"/>
            </a:xfrm>
          </p:grpSpPr>
          <p:pic>
            <p:nvPicPr>
              <p:cNvPr id="13" name="Picture 2" descr="EPD Programme at IBU | Institut Bauen und Umwelt e.V.">
                <a:extLst>
                  <a:ext uri="{FF2B5EF4-FFF2-40B4-BE49-F238E27FC236}">
                    <a16:creationId xmlns:a16="http://schemas.microsoft.com/office/drawing/2014/main" id="{6F19D733-38C7-5137-0BA8-8C2445BE8B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29944" y="4552869"/>
                <a:ext cx="3013527" cy="14388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" name="Imagem 13">
                <a:extLst>
                  <a:ext uri="{FF2B5EF4-FFF2-40B4-BE49-F238E27FC236}">
                    <a16:creationId xmlns:a16="http://schemas.microsoft.com/office/drawing/2014/main" id="{5DBB23D7-C1A7-3651-EC1E-5E8424BA1C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01031" y="4579398"/>
                <a:ext cx="3126014" cy="1513124"/>
              </a:xfrm>
              <a:prstGeom prst="rect">
                <a:avLst/>
              </a:prstGeom>
            </p:spPr>
          </p:pic>
        </p:grpSp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0782744A-F899-E31F-58EF-BC0E53EA5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913211" y="2641278"/>
              <a:ext cx="2085976" cy="21621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8640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484F2179-543F-4C03-9FDE-6F294691D0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/>
            <a:r>
              <a:rPr lang="en-GB" dirty="0">
                <a:solidFill>
                  <a:srgbClr val="414141">
                    <a:lumMod val="60000"/>
                    <a:lumOff val="40000"/>
                  </a:srgbClr>
                </a:solidFill>
                <a:latin typeface="Arial"/>
                <a:ea typeface="MS PGothic"/>
              </a:rPr>
              <a:t>Page </a:t>
            </a:r>
            <a:fld id="{43667527-7C42-4D8C-9BD4-204D132C7D2E}" type="slidenum">
              <a:rPr lang="en-GB">
                <a:solidFill>
                  <a:srgbClr val="414141">
                    <a:lumMod val="60000"/>
                    <a:lumOff val="40000"/>
                  </a:srgbClr>
                </a:solidFill>
                <a:latin typeface="Arial"/>
                <a:ea typeface="MS PGothic"/>
              </a:rPr>
              <a:pPr defTabSz="342900"/>
              <a:t>24</a:t>
            </a:fld>
            <a:endParaRPr lang="en-GB" dirty="0">
              <a:solidFill>
                <a:srgbClr val="414141">
                  <a:lumMod val="60000"/>
                  <a:lumOff val="40000"/>
                </a:srgbClr>
              </a:solidFill>
              <a:latin typeface="Arial"/>
              <a:ea typeface="MS PGothic"/>
            </a:endParaRPr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A5C1DDA6-EB07-47EF-85F8-C5CCD4F46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342900"/>
            <a:r>
              <a:rPr lang="en-GB">
                <a:solidFill>
                  <a:srgbClr val="414141">
                    <a:lumMod val="60000"/>
                    <a:lumOff val="40000"/>
                  </a:srgbClr>
                </a:solidFill>
                <a:ea typeface="MS PGothic"/>
              </a:rPr>
              <a:t>Confidential</a:t>
            </a:r>
            <a:endParaRPr lang="en-GB" dirty="0">
              <a:solidFill>
                <a:srgbClr val="414141">
                  <a:lumMod val="60000"/>
                  <a:lumOff val="40000"/>
                </a:srgbClr>
              </a:solidFill>
              <a:ea typeface="MS PGothic"/>
            </a:endParaRP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3A83A57C-DF5B-4BA1-8EFD-2CFC02E483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342900"/>
            <a:fld id="{42EAD5F8-BDCD-43DC-89D4-A6A8F6323C94}" type="datetime1">
              <a:rPr lang="en-GB">
                <a:solidFill>
                  <a:srgbClr val="414141">
                    <a:lumMod val="60000"/>
                    <a:lumOff val="40000"/>
                  </a:srgbClr>
                </a:solidFill>
                <a:latin typeface="Arial"/>
                <a:ea typeface="MS PGothic"/>
              </a:rPr>
              <a:pPr defTabSz="342900"/>
              <a:t>13/05/2025</a:t>
            </a:fld>
            <a:endParaRPr lang="en-GB" dirty="0">
              <a:solidFill>
                <a:srgbClr val="414141">
                  <a:lumMod val="60000"/>
                  <a:lumOff val="40000"/>
                </a:srgbClr>
              </a:solidFill>
              <a:latin typeface="Arial"/>
              <a:ea typeface="MS PGothic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7025A2-3B6F-C148-B89C-0C3032DF14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Google Shape;110;g28f92be7fd0_0_10">
            <a:extLst>
              <a:ext uri="{FF2B5EF4-FFF2-40B4-BE49-F238E27FC236}">
                <a16:creationId xmlns:a16="http://schemas.microsoft.com/office/drawing/2014/main" id="{3F1B950E-192E-9521-F35E-32EA747BB89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9871"/>
          <a:stretch/>
        </p:blipFill>
        <p:spPr>
          <a:xfrm flipH="1">
            <a:off x="7550606" y="5588100"/>
            <a:ext cx="1593394" cy="1269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11;g28f92be7fd0_0_10">
            <a:extLst>
              <a:ext uri="{FF2B5EF4-FFF2-40B4-BE49-F238E27FC236}">
                <a16:creationId xmlns:a16="http://schemas.microsoft.com/office/drawing/2014/main" id="{0224339E-D8C6-5F05-2212-10C3B1A9343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63751" y="6199463"/>
            <a:ext cx="707117" cy="29186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F45E82E-1C4D-B1F6-8E33-812432C8F671}"/>
              </a:ext>
            </a:extLst>
          </p:cNvPr>
          <p:cNvSpPr txBox="1"/>
          <p:nvPr/>
        </p:nvSpPr>
        <p:spPr>
          <a:xfrm>
            <a:off x="273132" y="1752125"/>
            <a:ext cx="8086198" cy="2424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R="0" lvl="0" indent="0" algn="just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1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lnSpc>
                <a:spcPct val="250000"/>
              </a:lnSpc>
              <a:defRPr/>
            </a:pPr>
            <a:r>
              <a:rPr lang="pt-BR" altLang="pt-BR" sz="1600" i="0" dirty="0">
                <a:solidFill>
                  <a:prstClr val="black"/>
                </a:solidFill>
              </a:rPr>
              <a:t>Produto disponível em todo o Brasil em barra, C&amp;D, APS e telas</a:t>
            </a:r>
          </a:p>
          <a:p>
            <a:pPr defTabSz="685800">
              <a:lnSpc>
                <a:spcPct val="250000"/>
              </a:lnSpc>
              <a:defRPr/>
            </a:pPr>
            <a:r>
              <a:rPr lang="pt-BR" altLang="pt-BR" sz="1600" i="0" dirty="0">
                <a:solidFill>
                  <a:prstClr val="black"/>
                </a:solidFill>
              </a:rPr>
              <a:t>Venda para 11 estados diferentes</a:t>
            </a:r>
          </a:p>
          <a:p>
            <a:pPr defTabSz="685800">
              <a:lnSpc>
                <a:spcPct val="250000"/>
              </a:lnSpc>
              <a:defRPr/>
            </a:pPr>
            <a:r>
              <a:rPr lang="pt-BR" altLang="pt-BR" sz="1600" i="0" dirty="0">
                <a:solidFill>
                  <a:prstClr val="black"/>
                </a:solidFill>
              </a:rPr>
              <a:t>+50 estudos de aplicação de CA-70</a:t>
            </a:r>
          </a:p>
          <a:p>
            <a:pPr defTabSz="685800">
              <a:lnSpc>
                <a:spcPct val="250000"/>
              </a:lnSpc>
              <a:defRPr/>
            </a:pPr>
            <a:r>
              <a:rPr lang="pt-BR" altLang="pt-BR" sz="1600" i="0" dirty="0">
                <a:solidFill>
                  <a:prstClr val="black"/>
                </a:solidFill>
              </a:rPr>
              <a:t>Compromisso com inovação e desenvolvimento do Mercado</a:t>
            </a:r>
          </a:p>
        </p:txBody>
      </p:sp>
      <p:pic>
        <p:nvPicPr>
          <p:cNvPr id="5" name="Imagem 4" descr="Placa branca com letras pretas&#10;&#10;Descrição gerada automaticamente com confiança média">
            <a:extLst>
              <a:ext uri="{FF2B5EF4-FFF2-40B4-BE49-F238E27FC236}">
                <a16:creationId xmlns:a16="http://schemas.microsoft.com/office/drawing/2014/main" id="{E7377A84-7912-C0CF-04D9-3B2A81C4EDF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851" y="2139008"/>
            <a:ext cx="1598119" cy="258130"/>
          </a:xfrm>
          <a:prstGeom prst="rect">
            <a:avLst/>
          </a:prstGeom>
        </p:spPr>
      </p:pic>
      <p:pic>
        <p:nvPicPr>
          <p:cNvPr id="8" name="Picture 2" descr="Steligence® | ArcelorMittal">
            <a:extLst>
              <a:ext uri="{FF2B5EF4-FFF2-40B4-BE49-F238E27FC236}">
                <a16:creationId xmlns:a16="http://schemas.microsoft.com/office/drawing/2014/main" id="{0B16D61A-0236-CC56-E973-8C464A960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2750" y="3010727"/>
            <a:ext cx="1598119" cy="836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32EEEF8C-0938-34A9-0A85-5F2E2CC001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10" name="Title 44">
            <a:extLst>
              <a:ext uri="{FF2B5EF4-FFF2-40B4-BE49-F238E27FC236}">
                <a16:creationId xmlns:a16="http://schemas.microsoft.com/office/drawing/2014/main" id="{57E446C2-8C6F-6287-BB28-4F9AB40410C5}"/>
              </a:ext>
            </a:extLst>
          </p:cNvPr>
          <p:cNvSpPr txBox="1">
            <a:spLocks/>
          </p:cNvSpPr>
          <p:nvPr/>
        </p:nvSpPr>
        <p:spPr bwMode="auto">
          <a:xfrm>
            <a:off x="2282756" y="382555"/>
            <a:ext cx="6202678" cy="930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 i="0" baseline="0">
                <a:solidFill>
                  <a:schemeClr val="tx1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400"/>
            <a:r>
              <a:rPr lang="en-GB" sz="2800" kern="0">
                <a:solidFill>
                  <a:srgbClr val="FF3700"/>
                </a:solidFill>
                <a:latin typeface="Aptos" panose="020B0004020202020204" pitchFamily="34" charset="0"/>
              </a:rPr>
              <a:t>ArcelorMittal 70 S AR</a:t>
            </a:r>
            <a:endParaRPr lang="en-GB" sz="2800" b="0" kern="0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8752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aixaDeTexto 30">
            <a:extLst>
              <a:ext uri="{FF2B5EF4-FFF2-40B4-BE49-F238E27FC236}">
                <a16:creationId xmlns:a16="http://schemas.microsoft.com/office/drawing/2014/main" id="{34D3FCCC-8429-5C28-BB75-E41ECA9076F4}"/>
              </a:ext>
            </a:extLst>
          </p:cNvPr>
          <p:cNvSpPr txBox="1"/>
          <p:nvPr/>
        </p:nvSpPr>
        <p:spPr>
          <a:xfrm>
            <a:off x="344751" y="2803068"/>
            <a:ext cx="263061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500" b="1">
                <a:solidFill>
                  <a:schemeClr val="tx1">
                    <a:lumMod val="65000"/>
                    <a:lumOff val="35000"/>
                  </a:schemeClr>
                </a:solidFill>
                <a:latin typeface="Gilroy-Bold" panose="00000800000000000000" pitchFamily="2" charset="0"/>
              </a:rPr>
              <a:t>Prensada Padrão</a:t>
            </a:r>
            <a:endParaRPr lang="pt-BR" sz="1500" b="1" baseline="-25000">
              <a:solidFill>
                <a:schemeClr val="tx1">
                  <a:lumMod val="65000"/>
                  <a:lumOff val="35000"/>
                </a:schemeClr>
              </a:solidFill>
              <a:latin typeface="Gilroy-Bold" panose="00000800000000000000" pitchFamily="2" charset="0"/>
            </a:endParaRPr>
          </a:p>
        </p:txBody>
      </p:sp>
      <p:sp>
        <p:nvSpPr>
          <p:cNvPr id="6145" name="CaixaDeTexto 6144">
            <a:extLst>
              <a:ext uri="{FF2B5EF4-FFF2-40B4-BE49-F238E27FC236}">
                <a16:creationId xmlns:a16="http://schemas.microsoft.com/office/drawing/2014/main" id="{2BE10CBB-3142-33C9-AC86-B74C78F84B80}"/>
              </a:ext>
            </a:extLst>
          </p:cNvPr>
          <p:cNvSpPr txBox="1"/>
          <p:nvPr/>
        </p:nvSpPr>
        <p:spPr>
          <a:xfrm>
            <a:off x="5045762" y="2823858"/>
            <a:ext cx="263061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500" b="1">
                <a:solidFill>
                  <a:schemeClr val="tx1">
                    <a:lumMod val="65000"/>
                    <a:lumOff val="35000"/>
                  </a:schemeClr>
                </a:solidFill>
                <a:latin typeface="Gilroy-Bold" panose="00000800000000000000" pitchFamily="2" charset="0"/>
              </a:rPr>
              <a:t>Soldável</a:t>
            </a:r>
            <a:endParaRPr lang="pt-BR" sz="1500" b="1" baseline="-25000">
              <a:solidFill>
                <a:schemeClr val="tx1">
                  <a:lumMod val="65000"/>
                  <a:lumOff val="35000"/>
                </a:schemeClr>
              </a:solidFill>
              <a:latin typeface="Gilroy-Bold" panose="00000800000000000000" pitchFamily="2" charset="0"/>
            </a:endParaRPr>
          </a:p>
        </p:txBody>
      </p:sp>
      <p:pic>
        <p:nvPicPr>
          <p:cNvPr id="6150" name="Imagem 6149">
            <a:extLst>
              <a:ext uri="{FF2B5EF4-FFF2-40B4-BE49-F238E27FC236}">
                <a16:creationId xmlns:a16="http://schemas.microsoft.com/office/drawing/2014/main" id="{C59B9BF4-5B34-1292-A3AA-EAC2593D7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30" y="3564007"/>
            <a:ext cx="3612598" cy="722519"/>
          </a:xfrm>
          <a:prstGeom prst="rect">
            <a:avLst/>
          </a:prstGeom>
        </p:spPr>
      </p:pic>
      <p:pic>
        <p:nvPicPr>
          <p:cNvPr id="6154" name="Imagem 6153">
            <a:extLst>
              <a:ext uri="{FF2B5EF4-FFF2-40B4-BE49-F238E27FC236}">
                <a16:creationId xmlns:a16="http://schemas.microsoft.com/office/drawing/2014/main" id="{177ACAA4-81AB-16F3-DE06-1496E8092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2423" y="3584048"/>
            <a:ext cx="3618364" cy="675844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C4C138E9-7AA2-1D46-BFEA-A28246FABAB8}"/>
              </a:ext>
            </a:extLst>
          </p:cNvPr>
          <p:cNvSpPr/>
          <p:nvPr/>
        </p:nvSpPr>
        <p:spPr>
          <a:xfrm rot="5400000">
            <a:off x="1632160" y="2065385"/>
            <a:ext cx="1207232" cy="362230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6144" name="Retângulo 6143">
            <a:extLst>
              <a:ext uri="{FF2B5EF4-FFF2-40B4-BE49-F238E27FC236}">
                <a16:creationId xmlns:a16="http://schemas.microsoft.com/office/drawing/2014/main" id="{F6F1C6E1-9DAB-E330-2ECA-A8B6C88B0009}"/>
              </a:ext>
            </a:extLst>
          </p:cNvPr>
          <p:cNvSpPr/>
          <p:nvPr/>
        </p:nvSpPr>
        <p:spPr>
          <a:xfrm rot="5400000">
            <a:off x="6276019" y="2065385"/>
            <a:ext cx="1207232" cy="362230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2" name="Title 44">
            <a:extLst>
              <a:ext uri="{FF2B5EF4-FFF2-40B4-BE49-F238E27FC236}">
                <a16:creationId xmlns:a16="http://schemas.microsoft.com/office/drawing/2014/main" id="{7AF11CA6-018F-30E4-766E-5D8EAC7C975E}"/>
              </a:ext>
            </a:extLst>
          </p:cNvPr>
          <p:cNvSpPr txBox="1">
            <a:spLocks/>
          </p:cNvSpPr>
          <p:nvPr/>
        </p:nvSpPr>
        <p:spPr>
          <a:xfrm>
            <a:off x="2235776" y="310125"/>
            <a:ext cx="5567104" cy="12136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Aplicação do CA70 S AR</a:t>
            </a:r>
          </a:p>
          <a:p>
            <a:r>
              <a:rPr lang="pt-BR" b="0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Emendas mecânicas disponíveis</a:t>
            </a:r>
            <a:endParaRPr lang="en-GB" b="0" kern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3" name="Imagem 2" descr="Uma imagem contendo Texto&#10;&#10;Descrição gerada automaticamente">
            <a:extLst>
              <a:ext uri="{FF2B5EF4-FFF2-40B4-BE49-F238E27FC236}">
                <a16:creationId xmlns:a16="http://schemas.microsoft.com/office/drawing/2014/main" id="{70A7EBCD-5CD0-C4A5-FFF1-7B21AC4567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2756" y="382555"/>
            <a:ext cx="6202678" cy="930878"/>
          </a:xfrm>
        </p:spPr>
        <p:txBody>
          <a:bodyPr/>
          <a:lstStyle/>
          <a:p>
            <a: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  <a:t>ArcelorMittal 70 S AR</a:t>
            </a:r>
            <a:br>
              <a:rPr lang="en-GB" sz="2800" cap="none" dirty="0">
                <a:solidFill>
                  <a:srgbClr val="FF3700"/>
                </a:solidFill>
                <a:latin typeface="Aptos" panose="020B0004020202020204" pitchFamily="34" charset="0"/>
              </a:rPr>
            </a:br>
            <a:r>
              <a:rPr lang="en-GB" b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Características</a:t>
            </a:r>
            <a:r>
              <a:rPr lang="en-GB" b="0" cap="none" dirty="0">
                <a:solidFill>
                  <a:srgbClr val="FF3700"/>
                </a:solidFill>
                <a:latin typeface="Aptos" panose="020B0004020202020204" pitchFamily="34" charset="0"/>
              </a:rPr>
              <a:t> do </a:t>
            </a:r>
            <a:r>
              <a:rPr lang="en-GB" b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produto</a:t>
            </a:r>
            <a:endParaRPr lang="en-GB" sz="2800" b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3C82CB64-A189-F2EB-0E65-DE1795801DA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09" t="1" r="8674" b="41086"/>
          <a:stretch/>
        </p:blipFill>
        <p:spPr>
          <a:xfrm>
            <a:off x="5695554" y="3794026"/>
            <a:ext cx="3282702" cy="1575059"/>
          </a:xfrm>
          <a:prstGeom prst="rect">
            <a:avLst/>
          </a:prstGeom>
        </p:spPr>
      </p:pic>
      <p:graphicFrame>
        <p:nvGraphicFramePr>
          <p:cNvPr id="28" name="object 24">
            <a:extLst>
              <a:ext uri="{FF2B5EF4-FFF2-40B4-BE49-F238E27FC236}">
                <a16:creationId xmlns:a16="http://schemas.microsoft.com/office/drawing/2014/main" id="{16D45EDC-9A11-B72E-9A67-42779E1B2A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49750"/>
              </p:ext>
            </p:extLst>
          </p:nvPr>
        </p:nvGraphicFramePr>
        <p:xfrm>
          <a:off x="230146" y="1795272"/>
          <a:ext cx="6360730" cy="16436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343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3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92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1985">
                  <a:extLst>
                    <a:ext uri="{9D8B030D-6E8A-4147-A177-3AD203B41FA5}">
                      <a16:colId xmlns:a16="http://schemas.microsoft.com/office/drawing/2014/main" val="50077926"/>
                    </a:ext>
                  </a:extLst>
                </a:gridCol>
                <a:gridCol w="904190">
                  <a:extLst>
                    <a:ext uri="{9D8B030D-6E8A-4147-A177-3AD203B41FA5}">
                      <a16:colId xmlns:a16="http://schemas.microsoft.com/office/drawing/2014/main" val="3598736558"/>
                    </a:ext>
                  </a:extLst>
                </a:gridCol>
                <a:gridCol w="999490">
                  <a:extLst>
                    <a:ext uri="{9D8B030D-6E8A-4147-A177-3AD203B41FA5}">
                      <a16:colId xmlns:a16="http://schemas.microsoft.com/office/drawing/2014/main" val="655078103"/>
                    </a:ext>
                  </a:extLst>
                </a:gridCol>
                <a:gridCol w="1058041">
                  <a:extLst>
                    <a:ext uri="{9D8B030D-6E8A-4147-A177-3AD203B41FA5}">
                      <a16:colId xmlns:a16="http://schemas.microsoft.com/office/drawing/2014/main" val="3535272442"/>
                    </a:ext>
                  </a:extLst>
                </a:gridCol>
              </a:tblGrid>
              <a:tr h="558119">
                <a:tc rowSpan="2">
                  <a:txBody>
                    <a:bodyPr/>
                    <a:lstStyle/>
                    <a:p>
                      <a:pPr marL="635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45">
                          <a:solidFill>
                            <a:srgbClr val="F47D30"/>
                          </a:solidFill>
                          <a:latin typeface="Foundry Sterling Demi"/>
                          <a:cs typeface="Foundry Sterling Demi"/>
                        </a:rPr>
                        <a:t>Categoria do Aço</a:t>
                      </a:r>
                      <a:endParaRPr sz="1100">
                        <a:latin typeface="Foundry Sterling Demi"/>
                        <a:cs typeface="Foundry Sterling Demi"/>
                      </a:endParaRPr>
                    </a:p>
                  </a:txBody>
                  <a:tcPr marL="0" marR="0" marT="8573" marB="0" anchor="ctr">
                    <a:lnR w="38100">
                      <a:solidFill>
                        <a:srgbClr val="FFFFFF"/>
                      </a:solidFill>
                      <a:prstDash val="solid"/>
                    </a:lnR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Limite Mínimo de Escoamento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>
                      <a:solidFill>
                        <a:srgbClr val="FFFFFF"/>
                      </a:solidFill>
                      <a:prstDash val="solid"/>
                    </a:lnL>
                    <a:lnR w="38100">
                      <a:solidFill>
                        <a:srgbClr val="FFFFFF"/>
                      </a:solidFill>
                      <a:prstDash val="solid"/>
                    </a:lnR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Limite Mínimo de Ruptura</a:t>
                      </a:r>
                    </a:p>
                  </a:txBody>
                  <a:tcPr marL="0" marR="0" marT="8573" marB="0" anchor="ctr">
                    <a:lnL w="381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Relação Elástica Mínima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Alongamento após ruptura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Soldabilidade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58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Aderência (Coeficiente de Conformação  Superficial)</a:t>
                      </a:r>
                    </a:p>
                    <a:p>
                      <a:pPr marL="958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kern="1200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</a:rPr>
                        <a:t>ø</a:t>
                      </a: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≥10,0mm</a:t>
                      </a:r>
                    </a:p>
                  </a:txBody>
                  <a:tcPr marL="0" marR="0" marT="8573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554">
                <a:tc vMerge="1">
                  <a:txBody>
                    <a:bodyPr/>
                    <a:lstStyle/>
                    <a:p>
                      <a:pPr marL="6350" algn="ctr">
                        <a:lnSpc>
                          <a:spcPts val="1100"/>
                        </a:lnSpc>
                        <a:spcBef>
                          <a:spcPts val="90"/>
                        </a:spcBef>
                      </a:pPr>
                      <a:endParaRPr sz="1000">
                        <a:latin typeface="Foundry Sterling Demi"/>
                        <a:cs typeface="Foundry Sterling Demi"/>
                      </a:endParaRPr>
                    </a:p>
                  </a:txBody>
                  <a:tcPr marL="0" marR="0" marT="11430" marB="0"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321945" algn="l"/>
                          <a:tab pos="1047750" algn="l"/>
                        </a:tabLst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(Mpa)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10515" algn="l"/>
                          <a:tab pos="835660" algn="l"/>
                        </a:tabLst>
                        <a:defRPr/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(Mpa)</a:t>
                      </a:r>
                    </a:p>
                  </a:txBody>
                  <a:tcPr marL="0" marR="0" marT="8573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LR/LE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marL="9588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35">
                          <a:solidFill>
                            <a:srgbClr val="F47D30"/>
                          </a:solidFill>
                          <a:latin typeface="Foundry Sterling Demi"/>
                          <a:ea typeface="+mn-ea"/>
                          <a:cs typeface="Foundry Sterling Demi"/>
                        </a:rPr>
                        <a:t>(%)</a:t>
                      </a:r>
                      <a:endParaRPr sz="1100" b="1" spc="35">
                        <a:solidFill>
                          <a:srgbClr val="F47D30"/>
                        </a:solidFill>
                        <a:latin typeface="Foundry Sterling Demi"/>
                        <a:ea typeface="+mn-ea"/>
                        <a:cs typeface="Foundry Sterling Demi"/>
                      </a:endParaRPr>
                    </a:p>
                  </a:txBody>
                  <a:tcPr marL="0" marR="0" marT="8573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050" b="1" i="0" u="none" strike="noStrike" kern="1200">
                        <a:solidFill>
                          <a:srgbClr val="F47D30"/>
                        </a:solidFill>
                        <a:effectLst/>
                        <a:latin typeface="Foundry Sterling Demi" panose="0200070004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11430" marB="0"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953358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50">
                          <a:solidFill>
                            <a:srgbClr val="414042"/>
                          </a:solidFill>
                          <a:latin typeface="Foundry Sterling Demi" panose="02000700040000020004" pitchFamily="50" charset="0"/>
                          <a:cs typeface="Foundry Sterling Book"/>
                        </a:rPr>
                        <a:t>CA50</a:t>
                      </a:r>
                      <a:endParaRPr sz="1100" b="1">
                        <a:latin typeface="Foundry Sterling Demi" panose="02000700040000020004" pitchFamily="50" charset="0"/>
                        <a:cs typeface="Foundry Sterling Book"/>
                      </a:endParaRPr>
                    </a:p>
                  </a:txBody>
                  <a:tcPr marL="0" marR="0" marT="5715" marB="0"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spc="5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50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54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1.1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8.0%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ok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1,5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3CA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766"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50">
                          <a:solidFill>
                            <a:srgbClr val="414042"/>
                          </a:solidFill>
                          <a:latin typeface="Foundry Sterling Demi" panose="02000700040000020004" pitchFamily="50" charset="0"/>
                          <a:cs typeface="Foundry Sterling Book"/>
                        </a:rPr>
                        <a:t>CA60</a:t>
                      </a:r>
                      <a:endParaRPr sz="1100" b="1">
                        <a:latin typeface="Foundry Sterling Demi" panose="02000700040000020004" pitchFamily="50" charset="0"/>
                        <a:cs typeface="Foundry Sterling Book"/>
                      </a:endParaRPr>
                    </a:p>
                  </a:txBody>
                  <a:tcPr marL="0" marR="0" marT="5715" marB="0" anchor="ctr"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spc="5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60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63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1.05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5.0%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ok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1,5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>
                      <a:solidFill>
                        <a:srgbClr val="FFFFFF"/>
                      </a:solidFill>
                      <a:prstDash val="soli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766"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b="1" spc="50">
                          <a:solidFill>
                            <a:srgbClr val="414042"/>
                          </a:solidFill>
                          <a:latin typeface="Foundry Sterling Demi" panose="02000700040000020004" pitchFamily="50" charset="0"/>
                          <a:cs typeface="Foundry Sterling Book"/>
                        </a:rPr>
                        <a:t>CA70 S AR</a:t>
                      </a:r>
                      <a:endParaRPr sz="1100" b="1">
                        <a:latin typeface="Foundry Sterling Demi" panose="02000700040000020004" pitchFamily="50" charset="0"/>
                        <a:cs typeface="Foundry Sterling Book"/>
                      </a:endParaRPr>
                    </a:p>
                  </a:txBody>
                  <a:tcPr marL="0" marR="0" marT="5715" marB="0" anchor="ctr"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spc="5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70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solidFill>
                            <a:srgbClr val="414042"/>
                          </a:solidFill>
                          <a:latin typeface="Foundry Sterling Book"/>
                          <a:cs typeface="Foundry Sterling Book"/>
                        </a:rPr>
                        <a:t>76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1.10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8.0%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>
                          <a:latin typeface="Foundry Sterling Book"/>
                          <a:cs typeface="Foundry Sterling Book"/>
                        </a:rPr>
                        <a:t>ok</a:t>
                      </a:r>
                      <a:endParaRPr sz="110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pt-BR" sz="1100" dirty="0">
                          <a:latin typeface="Foundry Sterling Book"/>
                          <a:cs typeface="Foundry Sterling Book"/>
                        </a:rPr>
                        <a:t>1,5</a:t>
                      </a:r>
                      <a:endParaRPr sz="1100" dirty="0">
                        <a:latin typeface="Foundry Sterling Book"/>
                        <a:cs typeface="Foundry Sterling Book"/>
                      </a:endParaRPr>
                    </a:p>
                  </a:txBody>
                  <a:tcPr marL="0" marR="0" marT="5715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CA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207933"/>
                  </a:ext>
                </a:extLst>
              </a:tr>
            </a:tbl>
          </a:graphicData>
        </a:graphic>
      </p:graphicFrame>
      <p:sp>
        <p:nvSpPr>
          <p:cNvPr id="31" name="object 25">
            <a:extLst>
              <a:ext uri="{FF2B5EF4-FFF2-40B4-BE49-F238E27FC236}">
                <a16:creationId xmlns:a16="http://schemas.microsoft.com/office/drawing/2014/main" id="{8A5C6931-CE67-C97D-B81E-E785E334F032}"/>
              </a:ext>
            </a:extLst>
          </p:cNvPr>
          <p:cNvSpPr txBox="1"/>
          <p:nvPr/>
        </p:nvSpPr>
        <p:spPr>
          <a:xfrm>
            <a:off x="230146" y="5375279"/>
            <a:ext cx="4845707" cy="28661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Obs.: 1)</a:t>
            </a:r>
            <a:r>
              <a:rPr sz="900" spc="4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ø</a:t>
            </a:r>
            <a:r>
              <a:rPr sz="900" spc="4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=</a:t>
            </a:r>
            <a:r>
              <a:rPr sz="900" spc="4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bitola.</a:t>
            </a:r>
            <a:endParaRPr sz="900">
              <a:latin typeface="Foundry Sterling Book"/>
              <a:cs typeface="Foundry Sterling Book"/>
            </a:endParaRPr>
          </a:p>
          <a:p>
            <a:pPr marL="189547">
              <a:spcBef>
                <a:spcPts val="30"/>
              </a:spcBef>
            </a:pPr>
            <a:r>
              <a:rPr lang="pt-BR" sz="900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2)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 spc="-8">
                <a:solidFill>
                  <a:srgbClr val="414042"/>
                </a:solidFill>
                <a:latin typeface="Foundry Sterling Book"/>
                <a:cs typeface="Foundry Sterling Book"/>
              </a:rPr>
              <a:t>Para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estribos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de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bitolas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≤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10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mm,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o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diâmetro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do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pino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 spc="-4">
                <a:solidFill>
                  <a:srgbClr val="414042"/>
                </a:solidFill>
                <a:latin typeface="Foundry Sterling Book"/>
                <a:cs typeface="Foundry Sterling Book"/>
              </a:rPr>
              <a:t>para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uso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na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 spc="-4">
                <a:solidFill>
                  <a:srgbClr val="414042"/>
                </a:solidFill>
                <a:latin typeface="Foundry Sterling Book"/>
                <a:cs typeface="Foundry Sterling Book"/>
              </a:rPr>
              <a:t>obra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poderá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ser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de</a:t>
            </a:r>
            <a:r>
              <a:rPr sz="900" spc="11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3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>
                <a:solidFill>
                  <a:srgbClr val="414042"/>
                </a:solidFill>
                <a:latin typeface="Foundry Sterling Book"/>
                <a:cs typeface="Foundry Sterling Book"/>
              </a:rPr>
              <a:t>x</a:t>
            </a:r>
            <a:r>
              <a:rPr sz="900" spc="15">
                <a:solidFill>
                  <a:srgbClr val="414042"/>
                </a:solidFill>
                <a:latin typeface="Foundry Sterling Book"/>
                <a:cs typeface="Foundry Sterling Book"/>
              </a:rPr>
              <a:t> </a:t>
            </a:r>
            <a:r>
              <a:rPr sz="900" spc="4">
                <a:solidFill>
                  <a:srgbClr val="414042"/>
                </a:solidFill>
                <a:latin typeface="Foundry Sterling Book"/>
                <a:cs typeface="Foundry Sterling Book"/>
              </a:rPr>
              <a:t>ø.</a:t>
            </a:r>
            <a:endParaRPr sz="900">
              <a:latin typeface="Foundry Sterling Book"/>
              <a:cs typeface="Foundry Sterling Book"/>
            </a:endParaRPr>
          </a:p>
        </p:txBody>
      </p:sp>
      <p:sp>
        <p:nvSpPr>
          <p:cNvPr id="33" name="object 42">
            <a:extLst>
              <a:ext uri="{FF2B5EF4-FFF2-40B4-BE49-F238E27FC236}">
                <a16:creationId xmlns:a16="http://schemas.microsoft.com/office/drawing/2014/main" id="{DCD4CF88-42B3-A341-7664-31D5C406D1CA}"/>
              </a:ext>
            </a:extLst>
          </p:cNvPr>
          <p:cNvSpPr txBox="1"/>
          <p:nvPr/>
        </p:nvSpPr>
        <p:spPr>
          <a:xfrm>
            <a:off x="230146" y="3576855"/>
            <a:ext cx="2234020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11">
                <a:solidFill>
                  <a:srgbClr val="F47D30"/>
                </a:solidFill>
                <a:latin typeface="Foundry Sterling Demi"/>
                <a:cs typeface="Foundry Sterling Demi"/>
              </a:rPr>
              <a:t>Dobramento</a:t>
            </a:r>
            <a:r>
              <a:rPr sz="1200" b="1" spc="8">
                <a:solidFill>
                  <a:srgbClr val="F47D30"/>
                </a:solidFill>
                <a:latin typeface="Foundry Sterling Demi"/>
                <a:cs typeface="Foundry Sterling Demi"/>
              </a:rPr>
              <a:t> do aço</a:t>
            </a:r>
            <a:endParaRPr sz="1200">
              <a:latin typeface="Foundry Sterling Demi"/>
              <a:cs typeface="Foundry Sterling Demi"/>
            </a:endParaRPr>
          </a:p>
        </p:txBody>
      </p:sp>
      <p:graphicFrame>
        <p:nvGraphicFramePr>
          <p:cNvPr id="34" name="Tabela 33">
            <a:extLst>
              <a:ext uri="{FF2B5EF4-FFF2-40B4-BE49-F238E27FC236}">
                <a16:creationId xmlns:a16="http://schemas.microsoft.com/office/drawing/2014/main" id="{E3857B9E-C02C-424F-5DF0-50FE9D6FF9DA}"/>
              </a:ext>
            </a:extLst>
          </p:cNvPr>
          <p:cNvGraphicFramePr>
            <a:graphicFrameLocks noGrp="1"/>
          </p:cNvGraphicFramePr>
          <p:nvPr/>
        </p:nvGraphicFramePr>
        <p:xfrm>
          <a:off x="230146" y="3771398"/>
          <a:ext cx="5184577" cy="1575061"/>
        </p:xfrm>
        <a:graphic>
          <a:graphicData uri="http://schemas.openxmlformats.org/drawingml/2006/table">
            <a:tbl>
              <a:tblPr firstRow="1" bandRow="1"/>
              <a:tblGrid>
                <a:gridCol w="1003951">
                  <a:extLst>
                    <a:ext uri="{9D8B030D-6E8A-4147-A177-3AD203B41FA5}">
                      <a16:colId xmlns:a16="http://schemas.microsoft.com/office/drawing/2014/main" val="2302364398"/>
                    </a:ext>
                  </a:extLst>
                </a:gridCol>
                <a:gridCol w="1003951">
                  <a:extLst>
                    <a:ext uri="{9D8B030D-6E8A-4147-A177-3AD203B41FA5}">
                      <a16:colId xmlns:a16="http://schemas.microsoft.com/office/drawing/2014/main" val="3046752419"/>
                    </a:ext>
                  </a:extLst>
                </a:gridCol>
                <a:gridCol w="1078871">
                  <a:extLst>
                    <a:ext uri="{9D8B030D-6E8A-4147-A177-3AD203B41FA5}">
                      <a16:colId xmlns:a16="http://schemas.microsoft.com/office/drawing/2014/main" val="2161578330"/>
                    </a:ext>
                  </a:extLst>
                </a:gridCol>
                <a:gridCol w="1078871">
                  <a:extLst>
                    <a:ext uri="{9D8B030D-6E8A-4147-A177-3AD203B41FA5}">
                      <a16:colId xmlns:a16="http://schemas.microsoft.com/office/drawing/2014/main" val="2077979064"/>
                    </a:ext>
                  </a:extLst>
                </a:gridCol>
                <a:gridCol w="1018933">
                  <a:extLst>
                    <a:ext uri="{9D8B030D-6E8A-4147-A177-3AD203B41FA5}">
                      <a16:colId xmlns:a16="http://schemas.microsoft.com/office/drawing/2014/main" val="256161727"/>
                    </a:ext>
                  </a:extLst>
                </a:gridCol>
              </a:tblGrid>
              <a:tr h="49482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Categoria  </a:t>
                      </a:r>
                    </a:p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do aço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Uso no laboratório  </a:t>
                      </a:r>
                      <a:b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</a:br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(NBR 7480)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Uso na obra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189845"/>
                  </a:ext>
                </a:extLst>
              </a:tr>
              <a:tr h="25215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Diâmetro do pino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Diâmetro do pino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010994"/>
                  </a:ext>
                </a:extLst>
              </a:tr>
              <a:tr h="20245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Bitola &lt; 20 mm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Bitola ≥ 20 mm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Bitola &lt; 20 mm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F47D30"/>
                          </a:solidFill>
                          <a:effectLst/>
                          <a:latin typeface="Foundry Sterling Demi" panose="02000700040000020004" pitchFamily="50" charset="0"/>
                        </a:rPr>
                        <a:t>Bitola ≥ 20 mm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47D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706749"/>
                  </a:ext>
                </a:extLst>
              </a:tr>
              <a:tr h="3128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CA 50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3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6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5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8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9313658"/>
                  </a:ext>
                </a:extLst>
              </a:tr>
              <a:tr h="3128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CA 70S/AR</a:t>
                      </a: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3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6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5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 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CA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8 x </a:t>
                      </a:r>
                      <a:r>
                        <a:rPr lang="pt-BR" sz="1500" b="0" i="0" u="none" strike="noStrike">
                          <a:solidFill>
                            <a:srgbClr val="414042"/>
                          </a:solidFill>
                          <a:effectLst/>
                          <a:latin typeface="Foundry Sterling Book" panose="02000503040000020004" pitchFamily="50" charset="0"/>
                        </a:rPr>
                        <a:t>ø</a:t>
                      </a:r>
                      <a:endParaRPr lang="pt-BR" sz="1100" b="0" i="0" u="none" strike="noStrike">
                        <a:solidFill>
                          <a:srgbClr val="414042"/>
                        </a:solidFill>
                        <a:effectLst/>
                        <a:latin typeface="Foundry Sterling Book" panose="02000503040000020004" pitchFamily="50" charset="0"/>
                      </a:endParaRPr>
                    </a:p>
                  </a:txBody>
                  <a:tcPr marL="7144" marR="7144" marT="7144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CA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824435"/>
                  </a:ext>
                </a:extLst>
              </a:tr>
            </a:tbl>
          </a:graphicData>
        </a:graphic>
      </p:graphicFrame>
      <p:pic>
        <p:nvPicPr>
          <p:cNvPr id="35" name="Imagem 34" descr="Uma imagem contendo objeto, corda, gato, deitado&#10;&#10;Descrição gerada automaticamente">
            <a:extLst>
              <a:ext uri="{FF2B5EF4-FFF2-40B4-BE49-F238E27FC236}">
                <a16:creationId xmlns:a16="http://schemas.microsoft.com/office/drawing/2014/main" id="{D03F06B4-7866-C87B-7FAC-FA07FB7A15B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994" b="-167"/>
          <a:stretch/>
        </p:blipFill>
        <p:spPr>
          <a:xfrm rot="10800000">
            <a:off x="6656335" y="1828117"/>
            <a:ext cx="2438762" cy="169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0861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BECE Associação Brasileira de Engenharia e Consultoria Estrutural | São  Paulo SP">
            <a:extLst>
              <a:ext uri="{FF2B5EF4-FFF2-40B4-BE49-F238E27FC236}">
                <a16:creationId xmlns:a16="http://schemas.microsoft.com/office/drawing/2014/main" id="{6792AD5C-E497-DECB-60FF-FB6A335C58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3" t="10913" r="13413" b="15257"/>
          <a:stretch/>
        </p:blipFill>
        <p:spPr bwMode="auto">
          <a:xfrm>
            <a:off x="2465956" y="4911575"/>
            <a:ext cx="622624" cy="960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rmas da ABNT: quais as principais, formatação - Brasil Escola">
            <a:extLst>
              <a:ext uri="{FF2B5EF4-FFF2-40B4-BE49-F238E27FC236}">
                <a16:creationId xmlns:a16="http://schemas.microsoft.com/office/drawing/2014/main" id="{D1B3326F-4C94-3ADA-758D-26DCF3E17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94" y="4911576"/>
            <a:ext cx="1528042" cy="6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8DC2C956-E562-A26C-997D-1AC154E6792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6675" y="4921880"/>
            <a:ext cx="785922" cy="693041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12EE061C-5B85-B292-1124-7E73055E2B6B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 flipH="1">
            <a:off x="544934" y="2483783"/>
            <a:ext cx="1" cy="16433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ixaDeTexto 3">
            <a:extLst>
              <a:ext uri="{FF2B5EF4-FFF2-40B4-BE49-F238E27FC236}">
                <a16:creationId xmlns:a16="http://schemas.microsoft.com/office/drawing/2014/main" id="{85DD604C-CEDF-A086-27FA-764C7D8F2115}"/>
              </a:ext>
            </a:extLst>
          </p:cNvPr>
          <p:cNvSpPr txBox="1"/>
          <p:nvPr/>
        </p:nvSpPr>
        <p:spPr>
          <a:xfrm>
            <a:off x="703679" y="2276382"/>
            <a:ext cx="3690042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visão da NBR 7480 – publicação em mar/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Portaria INMETRO 501:2024 publicada em Setembro 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Prática recomendada ABECE – concluída, aguardando publicação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Revisão NBR 6118 – plano de pesquisa para suportar revisão de critérios de projeto e execução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B3A0483D-4401-9797-37E9-ADE618BD13DE}"/>
              </a:ext>
            </a:extLst>
          </p:cNvPr>
          <p:cNvSpPr/>
          <p:nvPr/>
        </p:nvSpPr>
        <p:spPr>
          <a:xfrm>
            <a:off x="485460" y="2364836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24AA3EC-7B19-0387-F8C6-EF7383A48B7E}"/>
              </a:ext>
            </a:extLst>
          </p:cNvPr>
          <p:cNvSpPr/>
          <p:nvPr/>
        </p:nvSpPr>
        <p:spPr>
          <a:xfrm>
            <a:off x="485459" y="2950478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7E81F5D6-D374-E857-9EB0-6B219A28D8A8}"/>
              </a:ext>
            </a:extLst>
          </p:cNvPr>
          <p:cNvSpPr/>
          <p:nvPr/>
        </p:nvSpPr>
        <p:spPr>
          <a:xfrm>
            <a:off x="485459" y="3528607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1C663784-B2AA-920F-C11E-ACDFB2CA679F}"/>
              </a:ext>
            </a:extLst>
          </p:cNvPr>
          <p:cNvSpPr/>
          <p:nvPr/>
        </p:nvSpPr>
        <p:spPr>
          <a:xfrm>
            <a:off x="485459" y="4127102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2303C31-3D6F-9887-5035-A86D26DAAE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67" t="1059" r="2585"/>
          <a:stretch/>
        </p:blipFill>
        <p:spPr>
          <a:xfrm>
            <a:off x="4686381" y="966700"/>
            <a:ext cx="3389103" cy="4924600"/>
          </a:xfrm>
          <a:prstGeom prst="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5844781-3225-5968-652C-F7048533AE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1034" y="2537625"/>
            <a:ext cx="4956331" cy="288999"/>
          </a:xfrm>
          <a:prstGeom prst="rect">
            <a:avLst/>
          </a:prstGeom>
          <a:ln w="19050">
            <a:solidFill>
              <a:srgbClr val="FF4A2A"/>
            </a:solidFill>
          </a:ln>
        </p:spPr>
      </p:pic>
      <p:sp>
        <p:nvSpPr>
          <p:cNvPr id="8" name="Elipse 7">
            <a:extLst>
              <a:ext uri="{FF2B5EF4-FFF2-40B4-BE49-F238E27FC236}">
                <a16:creationId xmlns:a16="http://schemas.microsoft.com/office/drawing/2014/main" id="{7E816479-C192-00CA-C930-21BDE6C20C90}"/>
              </a:ext>
            </a:extLst>
          </p:cNvPr>
          <p:cNvSpPr/>
          <p:nvPr/>
        </p:nvSpPr>
        <p:spPr>
          <a:xfrm>
            <a:off x="422999" y="2276381"/>
            <a:ext cx="237834" cy="237834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2" name="Google Shape;110;g28f92be7fd0_0_10">
            <a:extLst>
              <a:ext uri="{FF2B5EF4-FFF2-40B4-BE49-F238E27FC236}">
                <a16:creationId xmlns:a16="http://schemas.microsoft.com/office/drawing/2014/main" id="{44DB7B31-B025-3529-02E0-FD8B63C6AAA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11;g28f92be7fd0_0_10">
            <a:extLst>
              <a:ext uri="{FF2B5EF4-FFF2-40B4-BE49-F238E27FC236}">
                <a16:creationId xmlns:a16="http://schemas.microsoft.com/office/drawing/2014/main" id="{D0041E3D-17E3-0823-A6B9-F1ACC733793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513032E8-568C-7DC3-ACFF-6624B95D0E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95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BECE Associação Brasileira de Engenharia e Consultoria Estrutural | São  Paulo SP">
            <a:extLst>
              <a:ext uri="{FF2B5EF4-FFF2-40B4-BE49-F238E27FC236}">
                <a16:creationId xmlns:a16="http://schemas.microsoft.com/office/drawing/2014/main" id="{6792AD5C-E497-DECB-60FF-FB6A335C58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3" t="10913" r="13413" b="15257"/>
          <a:stretch/>
        </p:blipFill>
        <p:spPr bwMode="auto">
          <a:xfrm>
            <a:off x="2465956" y="4911575"/>
            <a:ext cx="622624" cy="960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rmas da ABNT: quais as principais, formatação - Brasil Escola">
            <a:extLst>
              <a:ext uri="{FF2B5EF4-FFF2-40B4-BE49-F238E27FC236}">
                <a16:creationId xmlns:a16="http://schemas.microsoft.com/office/drawing/2014/main" id="{D1B3326F-4C94-3ADA-758D-26DCF3E17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94" y="4911576"/>
            <a:ext cx="1528042" cy="6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8DC2C956-E562-A26C-997D-1AC154E6792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6675" y="4921880"/>
            <a:ext cx="785922" cy="693041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12EE061C-5B85-B292-1124-7E73055E2B6B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 flipH="1">
            <a:off x="544934" y="2483783"/>
            <a:ext cx="1" cy="16433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ixaDeTexto 3">
            <a:extLst>
              <a:ext uri="{FF2B5EF4-FFF2-40B4-BE49-F238E27FC236}">
                <a16:creationId xmlns:a16="http://schemas.microsoft.com/office/drawing/2014/main" id="{85DD604C-CEDF-A086-27FA-764C7D8F2115}"/>
              </a:ext>
            </a:extLst>
          </p:cNvPr>
          <p:cNvSpPr txBox="1"/>
          <p:nvPr/>
        </p:nvSpPr>
        <p:spPr>
          <a:xfrm>
            <a:off x="703679" y="2276382"/>
            <a:ext cx="3690042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Revisão da NBR 7480 – publicação em mar/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ortaria INMETRO 501:2024 publicada em Setembro 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Prática recomendada ABECE – publicada em setembro 20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Revisão NBR 6118 – plano de pesquisa para suportar revisão de critérios de projeto e execução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B3A0483D-4401-9797-37E9-ADE618BD13DE}"/>
              </a:ext>
            </a:extLst>
          </p:cNvPr>
          <p:cNvSpPr/>
          <p:nvPr/>
        </p:nvSpPr>
        <p:spPr>
          <a:xfrm>
            <a:off x="485460" y="2364836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24AA3EC-7B19-0387-F8C6-EF7383A48B7E}"/>
              </a:ext>
            </a:extLst>
          </p:cNvPr>
          <p:cNvSpPr/>
          <p:nvPr/>
        </p:nvSpPr>
        <p:spPr>
          <a:xfrm>
            <a:off x="485459" y="2950478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7E81F5D6-D374-E857-9EB0-6B219A28D8A8}"/>
              </a:ext>
            </a:extLst>
          </p:cNvPr>
          <p:cNvSpPr/>
          <p:nvPr/>
        </p:nvSpPr>
        <p:spPr>
          <a:xfrm>
            <a:off x="485459" y="3528607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1C663784-B2AA-920F-C11E-ACDFB2CA679F}"/>
              </a:ext>
            </a:extLst>
          </p:cNvPr>
          <p:cNvSpPr/>
          <p:nvPr/>
        </p:nvSpPr>
        <p:spPr>
          <a:xfrm>
            <a:off x="485459" y="4127102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7E816479-C192-00CA-C930-21BDE6C20C90}"/>
              </a:ext>
            </a:extLst>
          </p:cNvPr>
          <p:cNvSpPr/>
          <p:nvPr/>
        </p:nvSpPr>
        <p:spPr>
          <a:xfrm>
            <a:off x="422999" y="2914645"/>
            <a:ext cx="237834" cy="237834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9E644F0-C379-6751-DAC3-1C715987DC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4963" y="1264295"/>
            <a:ext cx="3112395" cy="4400283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" name="Google Shape;110;g28f92be7fd0_0_10">
            <a:extLst>
              <a:ext uri="{FF2B5EF4-FFF2-40B4-BE49-F238E27FC236}">
                <a16:creationId xmlns:a16="http://schemas.microsoft.com/office/drawing/2014/main" id="{B1068BCD-9286-F588-2FDF-2213B298955F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11;g28f92be7fd0_0_10">
            <a:extLst>
              <a:ext uri="{FF2B5EF4-FFF2-40B4-BE49-F238E27FC236}">
                <a16:creationId xmlns:a16="http://schemas.microsoft.com/office/drawing/2014/main" id="{84D52A74-DCB3-6A05-4F72-9F9A4C3D0D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9B55C0BD-430A-294B-BC85-E354608385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8968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055CE5CE-3468-CCF7-7379-E7B2C7C821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6566" y="1264295"/>
            <a:ext cx="3092438" cy="4405099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28" name="Picture 4" descr="ABECE Associação Brasileira de Engenharia e Consultoria Estrutural | São  Paulo SP">
            <a:extLst>
              <a:ext uri="{FF2B5EF4-FFF2-40B4-BE49-F238E27FC236}">
                <a16:creationId xmlns:a16="http://schemas.microsoft.com/office/drawing/2014/main" id="{6792AD5C-E497-DECB-60FF-FB6A335C58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3" t="10913" r="13413" b="15257"/>
          <a:stretch/>
        </p:blipFill>
        <p:spPr bwMode="auto">
          <a:xfrm>
            <a:off x="2465956" y="4911575"/>
            <a:ext cx="622624" cy="960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rmas da ABNT: quais as principais, formatação - Brasil Escola">
            <a:extLst>
              <a:ext uri="{FF2B5EF4-FFF2-40B4-BE49-F238E27FC236}">
                <a16:creationId xmlns:a16="http://schemas.microsoft.com/office/drawing/2014/main" id="{D1B3326F-4C94-3ADA-758D-26DCF3E17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94" y="4911576"/>
            <a:ext cx="1528042" cy="6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8DC2C956-E562-A26C-997D-1AC154E6792F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6675" y="4921880"/>
            <a:ext cx="785922" cy="693041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12EE061C-5B85-B292-1124-7E73055E2B6B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 flipH="1">
            <a:off x="544934" y="2483783"/>
            <a:ext cx="1" cy="16433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ipse 9">
            <a:extLst>
              <a:ext uri="{FF2B5EF4-FFF2-40B4-BE49-F238E27FC236}">
                <a16:creationId xmlns:a16="http://schemas.microsoft.com/office/drawing/2014/main" id="{B3A0483D-4401-9797-37E9-ADE618BD13DE}"/>
              </a:ext>
            </a:extLst>
          </p:cNvPr>
          <p:cNvSpPr/>
          <p:nvPr/>
        </p:nvSpPr>
        <p:spPr>
          <a:xfrm>
            <a:off x="485460" y="2364836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24AA3EC-7B19-0387-F8C6-EF7383A48B7E}"/>
              </a:ext>
            </a:extLst>
          </p:cNvPr>
          <p:cNvSpPr/>
          <p:nvPr/>
        </p:nvSpPr>
        <p:spPr>
          <a:xfrm>
            <a:off x="485459" y="2950478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7E81F5D6-D374-E857-9EB0-6B219A28D8A8}"/>
              </a:ext>
            </a:extLst>
          </p:cNvPr>
          <p:cNvSpPr/>
          <p:nvPr/>
        </p:nvSpPr>
        <p:spPr>
          <a:xfrm>
            <a:off x="485459" y="3528607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1C663784-B2AA-920F-C11E-ACDFB2CA679F}"/>
              </a:ext>
            </a:extLst>
          </p:cNvPr>
          <p:cNvSpPr/>
          <p:nvPr/>
        </p:nvSpPr>
        <p:spPr>
          <a:xfrm>
            <a:off x="485459" y="4127102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7E816479-C192-00CA-C930-21BDE6C20C90}"/>
              </a:ext>
            </a:extLst>
          </p:cNvPr>
          <p:cNvSpPr/>
          <p:nvPr/>
        </p:nvSpPr>
        <p:spPr>
          <a:xfrm>
            <a:off x="422999" y="3485008"/>
            <a:ext cx="237834" cy="237834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6121D41D-71B5-090D-3591-3270122AD4BA}"/>
              </a:ext>
            </a:extLst>
          </p:cNvPr>
          <p:cNvSpPr txBox="1"/>
          <p:nvPr/>
        </p:nvSpPr>
        <p:spPr>
          <a:xfrm>
            <a:off x="7643625" y="2794750"/>
            <a:ext cx="1593395" cy="17286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Alio Kimura, 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Aurélio Fortes, 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Daniel Miranda,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Fernando </a:t>
            </a:r>
            <a:r>
              <a:rPr lang="pt-BR" sz="900" err="1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Stucchi</a:t>
            </a: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,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Gustavo Fortes,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José Samuel </a:t>
            </a:r>
            <a:r>
              <a:rPr lang="pt-BR" sz="900" err="1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Giongo</a:t>
            </a: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,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Marco Carnio,</a:t>
            </a:r>
          </a:p>
          <a:p>
            <a:pPr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>
                <a:solidFill>
                  <a:srgbClr val="FFFFFF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Eng. Ricardo Franç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DC90032-8043-5308-2285-9C52443BBF57}"/>
              </a:ext>
            </a:extLst>
          </p:cNvPr>
          <p:cNvSpPr txBox="1"/>
          <p:nvPr/>
        </p:nvSpPr>
        <p:spPr>
          <a:xfrm>
            <a:off x="703679" y="2276382"/>
            <a:ext cx="3690042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Revisão da NBR 7480 – publicação em mar/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Portaria INMETRO 501:2024 publicada em Setembro 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ática recomendada ABECE – publicada em setembro 20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FFFFFF">
                    <a:lumMod val="95000"/>
                  </a:srgbClr>
                </a:solidFill>
                <a:latin typeface="Arial"/>
                <a:cs typeface="Arial"/>
                <a:sym typeface="Arial"/>
              </a:rPr>
              <a:t>Revisão NBR 6118 – plano de pesquisa para suportar revisão de critérios de projeto e execução</a:t>
            </a:r>
          </a:p>
        </p:txBody>
      </p:sp>
      <p:pic>
        <p:nvPicPr>
          <p:cNvPr id="2" name="Google Shape;110;g28f92be7fd0_0_10">
            <a:extLst>
              <a:ext uri="{FF2B5EF4-FFF2-40B4-BE49-F238E27FC236}">
                <a16:creationId xmlns:a16="http://schemas.microsoft.com/office/drawing/2014/main" id="{DF71A764-F967-1E9E-CE08-AA53E1AC27D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11;g28f92be7fd0_0_10">
            <a:extLst>
              <a:ext uri="{FF2B5EF4-FFF2-40B4-BE49-F238E27FC236}">
                <a16:creationId xmlns:a16="http://schemas.microsoft.com/office/drawing/2014/main" id="{33AE2620-C2A7-89D9-7DBA-ED9DCFB37A4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CA76CF8F-F861-E2B3-F505-DF19DDF67B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032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FDC0F-13A4-0210-AC8D-9B8E495B2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5EAE52AB-9ACA-C69F-97FE-7EDD303EC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BCE6F28F-D635-120E-0870-1C91004E3082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DA8DFA6-8367-A795-300A-166CDAFDC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BAD8DE2-51FB-65A7-A0AB-8548E1127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DAECC649-97BD-BE90-C3A6-9AEDE624B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874"/>
          <a:stretch/>
        </p:blipFill>
        <p:spPr>
          <a:xfrm rot="5400000">
            <a:off x="2149778" y="864006"/>
            <a:ext cx="4844443" cy="685800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79EB3948-827F-5DE1-2D3B-B0409D6F5057}"/>
              </a:ext>
            </a:extLst>
          </p:cNvPr>
          <p:cNvSpPr txBox="1"/>
          <p:nvPr/>
        </p:nvSpPr>
        <p:spPr>
          <a:xfrm>
            <a:off x="455152" y="1382596"/>
            <a:ext cx="8452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aracterísticas das cordoalhas nuas de 3 e 7 fios com relaxação baixa</a:t>
            </a:r>
          </a:p>
        </p:txBody>
      </p:sp>
    </p:spTree>
    <p:extLst>
      <p:ext uri="{BB962C8B-B14F-4D97-AF65-F5344CB8AC3E}">
        <p14:creationId xmlns:p14="http://schemas.microsoft.com/office/powerpoint/2010/main" val="28920060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BECE Associação Brasileira de Engenharia e Consultoria Estrutural | São  Paulo SP">
            <a:extLst>
              <a:ext uri="{FF2B5EF4-FFF2-40B4-BE49-F238E27FC236}">
                <a16:creationId xmlns:a16="http://schemas.microsoft.com/office/drawing/2014/main" id="{6792AD5C-E497-DECB-60FF-FB6A335C58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3" t="10913" r="13413" b="15257"/>
          <a:stretch/>
        </p:blipFill>
        <p:spPr bwMode="auto">
          <a:xfrm>
            <a:off x="2465956" y="4911575"/>
            <a:ext cx="622624" cy="960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rmas da ABNT: quais as principais, formatação - Brasil Escola">
            <a:extLst>
              <a:ext uri="{FF2B5EF4-FFF2-40B4-BE49-F238E27FC236}">
                <a16:creationId xmlns:a16="http://schemas.microsoft.com/office/drawing/2014/main" id="{D1B3326F-4C94-3ADA-758D-26DCF3E17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94" y="4911576"/>
            <a:ext cx="1528042" cy="6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8DC2C956-E562-A26C-997D-1AC154E6792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6675" y="4921880"/>
            <a:ext cx="785922" cy="693041"/>
          </a:xfrm>
          <a:prstGeom prst="rect">
            <a:avLst/>
          </a:prstGeom>
        </p:spPr>
      </p:pic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12EE061C-5B85-B292-1124-7E73055E2B6B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 flipH="1">
            <a:off x="544934" y="2483783"/>
            <a:ext cx="1" cy="164331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ixaDeTexto 3">
            <a:extLst>
              <a:ext uri="{FF2B5EF4-FFF2-40B4-BE49-F238E27FC236}">
                <a16:creationId xmlns:a16="http://schemas.microsoft.com/office/drawing/2014/main" id="{85DD604C-CEDF-A086-27FA-764C7D8F2115}"/>
              </a:ext>
            </a:extLst>
          </p:cNvPr>
          <p:cNvSpPr txBox="1"/>
          <p:nvPr/>
        </p:nvSpPr>
        <p:spPr>
          <a:xfrm>
            <a:off x="703679" y="2276381"/>
            <a:ext cx="3690042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Revisão da NBR 7480 – publicação em mar/24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Portaria Inmetro: consulta pública concluída, aguardando publicação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  <a:sym typeface="Arial"/>
              </a:rPr>
              <a:t>Prática recomendada ABECE – concluída, aguardando publicação</a:t>
            </a:r>
          </a:p>
          <a:p>
            <a:pPr defTabSz="685800">
              <a:spcAft>
                <a:spcPts val="1350"/>
              </a:spcAft>
              <a:buClr>
                <a:srgbClr val="000000"/>
              </a:buClr>
              <a:defRPr/>
            </a:pPr>
            <a:r>
              <a:rPr lang="pt-BR" sz="13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visão NBR 6118 – plano de pesquisa para suportar revisão de critérios de projeto e execução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B3A0483D-4401-9797-37E9-ADE618BD13DE}"/>
              </a:ext>
            </a:extLst>
          </p:cNvPr>
          <p:cNvSpPr/>
          <p:nvPr/>
        </p:nvSpPr>
        <p:spPr>
          <a:xfrm>
            <a:off x="485460" y="2364836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24AA3EC-7B19-0387-F8C6-EF7383A48B7E}"/>
              </a:ext>
            </a:extLst>
          </p:cNvPr>
          <p:cNvSpPr/>
          <p:nvPr/>
        </p:nvSpPr>
        <p:spPr>
          <a:xfrm>
            <a:off x="485459" y="2950478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7E81F5D6-D374-E857-9EB0-6B219A28D8A8}"/>
              </a:ext>
            </a:extLst>
          </p:cNvPr>
          <p:cNvSpPr/>
          <p:nvPr/>
        </p:nvSpPr>
        <p:spPr>
          <a:xfrm>
            <a:off x="485459" y="3528607"/>
            <a:ext cx="118949" cy="118949"/>
          </a:xfrm>
          <a:prstGeom prst="ellipse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1C663784-B2AA-920F-C11E-ACDFB2CA679F}"/>
              </a:ext>
            </a:extLst>
          </p:cNvPr>
          <p:cNvSpPr/>
          <p:nvPr/>
        </p:nvSpPr>
        <p:spPr>
          <a:xfrm>
            <a:off x="485459" y="4127102"/>
            <a:ext cx="118949" cy="118949"/>
          </a:xfrm>
          <a:prstGeom prst="ellipse">
            <a:avLst/>
          </a:prstGeom>
          <a:solidFill>
            <a:srgbClr val="FF37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7E816479-C192-00CA-C930-21BDE6C20C90}"/>
              </a:ext>
            </a:extLst>
          </p:cNvPr>
          <p:cNvSpPr/>
          <p:nvPr/>
        </p:nvSpPr>
        <p:spPr>
          <a:xfrm>
            <a:off x="422999" y="4089329"/>
            <a:ext cx="237834" cy="237834"/>
          </a:xfrm>
          <a:prstGeom prst="ellipse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3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BF1C967-0B55-68C4-2964-BAC41DE92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856" y="1270871"/>
            <a:ext cx="3117218" cy="4405099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oogle Shape;110;g28f92be7fd0_0_10">
            <a:extLst>
              <a:ext uri="{FF2B5EF4-FFF2-40B4-BE49-F238E27FC236}">
                <a16:creationId xmlns:a16="http://schemas.microsoft.com/office/drawing/2014/main" id="{091072C1-1893-EFC4-1D11-9D3486EA0967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11;g28f92be7fd0_0_10">
            <a:extLst>
              <a:ext uri="{FF2B5EF4-FFF2-40B4-BE49-F238E27FC236}">
                <a16:creationId xmlns:a16="http://schemas.microsoft.com/office/drawing/2014/main" id="{D76DF9D4-CC70-D687-0285-F98D351C44F5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CE3074DE-552F-78F5-7623-41C30BF647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73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>
            <a:extLst>
              <a:ext uri="{FF2B5EF4-FFF2-40B4-BE49-F238E27FC236}">
                <a16:creationId xmlns:a16="http://schemas.microsoft.com/office/drawing/2014/main" id="{9EC0D114-2B76-E7F0-625E-1C94C1BA3B0A}"/>
              </a:ext>
            </a:extLst>
          </p:cNvPr>
          <p:cNvGrpSpPr/>
          <p:nvPr/>
        </p:nvGrpSpPr>
        <p:grpSpPr>
          <a:xfrm>
            <a:off x="1297786" y="1705907"/>
            <a:ext cx="6548428" cy="4099333"/>
            <a:chOff x="1489323" y="1434868"/>
            <a:chExt cx="8168653" cy="5113598"/>
          </a:xfrm>
        </p:grpSpPr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112FAD16-7BD2-E0DF-C0C5-F2E5B580A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89323" y="1434868"/>
              <a:ext cx="3965789" cy="5113598"/>
            </a:xfrm>
            <a:prstGeom prst="rect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A7037394-6DC9-67E4-9E4B-F320082AA6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963" b="1025"/>
            <a:stretch/>
          </p:blipFill>
          <p:spPr>
            <a:xfrm rot="16200000">
              <a:off x="5315259" y="2202910"/>
              <a:ext cx="5110758" cy="3574676"/>
            </a:xfrm>
            <a:prstGeom prst="rect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  <p:pic>
        <p:nvPicPr>
          <p:cNvPr id="2" name="Google Shape;110;g28f92be7fd0_0_10">
            <a:extLst>
              <a:ext uri="{FF2B5EF4-FFF2-40B4-BE49-F238E27FC236}">
                <a16:creationId xmlns:a16="http://schemas.microsoft.com/office/drawing/2014/main" id="{A4D0EE1F-DA2F-9F73-B9E3-E04D9CD7983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11;g28f92be7fd0_0_10">
            <a:extLst>
              <a:ext uri="{FF2B5EF4-FFF2-40B4-BE49-F238E27FC236}">
                <a16:creationId xmlns:a16="http://schemas.microsoft.com/office/drawing/2014/main" id="{43CAFB2A-59CA-605D-034C-7AFF6A5786D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E5FBD341-B6E5-8BE5-BE7E-22A8A46849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398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sp>
        <p:nvSpPr>
          <p:cNvPr id="2" name="Title 44">
            <a:extLst>
              <a:ext uri="{FF2B5EF4-FFF2-40B4-BE49-F238E27FC236}">
                <a16:creationId xmlns:a16="http://schemas.microsoft.com/office/drawing/2014/main" id="{D4F23BF3-AD26-5630-6389-4A6C6BF6B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5775" y="310125"/>
            <a:ext cx="6553661" cy="1213635"/>
          </a:xfrm>
        </p:spPr>
        <p:txBody>
          <a:bodyPr/>
          <a:lstStyle/>
          <a:p>
            <a:pPr defTabSz="914400"/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Aplicação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,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normalização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,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aderência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,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comportamento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em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altas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temperaturas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e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estudo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de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fadiga</a:t>
            </a:r>
            <a:endParaRPr lang="en-GB" kern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32" descr="ABECE Assoc. Bras. Eng. Consultoria Estrutural - YouTube">
            <a:extLst>
              <a:ext uri="{FF2B5EF4-FFF2-40B4-BE49-F238E27FC236}">
                <a16:creationId xmlns:a16="http://schemas.microsoft.com/office/drawing/2014/main" id="{37AC2CFA-D720-24F8-DF8F-8DD944B0A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4275" y="1743529"/>
            <a:ext cx="969188" cy="969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1E71EE27-A04B-B93C-159D-20D4D458D12F}"/>
              </a:ext>
            </a:extLst>
          </p:cNvPr>
          <p:cNvSpPr txBox="1"/>
          <p:nvPr/>
        </p:nvSpPr>
        <p:spPr>
          <a:xfrm>
            <a:off x="2996180" y="3778175"/>
            <a:ext cx="4394514" cy="2658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ublicação na revista Estrutur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chell Ribeiro e Silva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is Augusto Pupin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is Filipe Araújo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runo </a:t>
            </a:r>
            <a:r>
              <a:rPr lang="pt-BR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ttarello</a:t>
            </a: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pt-BR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rtazzolo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afael Testoni </a:t>
            </a:r>
            <a:r>
              <a:rPr lang="pt-BR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ecel</a:t>
            </a: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fa. Dra. Leila Cristina Meneghetti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lder Craveiro 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ís </a:t>
            </a:r>
            <a:r>
              <a:rPr lang="pt-BR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aím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dina Santiago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f. Dr. Pedro Almeida</a:t>
            </a:r>
            <a:b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pt-BR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velly</a:t>
            </a:r>
            <a:r>
              <a:rPr lang="pt-BR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eatriz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36ED02A-ED04-60E8-F602-8BEC16FA81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712" y="4698808"/>
            <a:ext cx="1939876" cy="1939876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F3395076-2531-1692-28B9-02F3709E1C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160" y="1821569"/>
            <a:ext cx="2041052" cy="272309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E1A8F8B7-60EA-24C8-8309-28A01B62BC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23119" y="1744824"/>
            <a:ext cx="2972334" cy="1813582"/>
          </a:xfrm>
          <a:prstGeom prst="rect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 descr="Universidade de Coimbra tem nova logomarca">
            <a:extLst>
              <a:ext uri="{FF2B5EF4-FFF2-40B4-BE49-F238E27FC236}">
                <a16:creationId xmlns:a16="http://schemas.microsoft.com/office/drawing/2014/main" id="{540ACC7D-0335-0487-5587-D9CA477ED7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3" b="10436"/>
          <a:stretch/>
        </p:blipFill>
        <p:spPr bwMode="auto">
          <a:xfrm>
            <a:off x="6311752" y="4598595"/>
            <a:ext cx="1445045" cy="73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3" descr="LSE - Laboratório de Sistemas Estruturais - No geral, boa pra se trabalhar.  | Glassdoor">
            <a:extLst>
              <a:ext uri="{FF2B5EF4-FFF2-40B4-BE49-F238E27FC236}">
                <a16:creationId xmlns:a16="http://schemas.microsoft.com/office/drawing/2014/main" id="{2C66C3E6-78FE-8C8B-40F7-05585FB8E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1759" y="4455945"/>
            <a:ext cx="893957" cy="89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4" descr="Como ingressar na USP? - Curso Anglo">
            <a:extLst>
              <a:ext uri="{FF2B5EF4-FFF2-40B4-BE49-F238E27FC236}">
                <a16:creationId xmlns:a16="http://schemas.microsoft.com/office/drawing/2014/main" id="{BAF5E0C2-3B42-FE8F-F21C-28E7CFE463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4" t="28533" r="15190" b="26490"/>
          <a:stretch/>
        </p:blipFill>
        <p:spPr bwMode="auto">
          <a:xfrm>
            <a:off x="7155574" y="3863314"/>
            <a:ext cx="1008139" cy="50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oogle Shape;105;g28f92be7fd0_0_10">
            <a:extLst>
              <a:ext uri="{FF2B5EF4-FFF2-40B4-BE49-F238E27FC236}">
                <a16:creationId xmlns:a16="http://schemas.microsoft.com/office/drawing/2014/main" id="{BAC7E2E7-C30B-31F6-7463-D93E1E2A99A3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6719336" y="3169764"/>
            <a:ext cx="1880617" cy="3391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15313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2" y="5610071"/>
            <a:ext cx="1802799" cy="12487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44">
            <a:extLst>
              <a:ext uri="{FF2B5EF4-FFF2-40B4-BE49-F238E27FC236}">
                <a16:creationId xmlns:a16="http://schemas.microsoft.com/office/drawing/2014/main" id="{7AB23795-358E-86EA-45D2-DB2B95B67889}"/>
              </a:ext>
            </a:extLst>
          </p:cNvPr>
          <p:cNvSpPr txBox="1">
            <a:spLocks/>
          </p:cNvSpPr>
          <p:nvPr/>
        </p:nvSpPr>
        <p:spPr>
          <a:xfrm>
            <a:off x="2235775" y="310125"/>
            <a:ext cx="6553661" cy="12136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Tração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em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altas</a:t>
            </a:r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 </a:t>
            </a:r>
            <a:r>
              <a:rPr lang="en-GB" kern="0" cap="none" dirty="0" err="1">
                <a:solidFill>
                  <a:srgbClr val="FF3700"/>
                </a:solidFill>
                <a:latin typeface="Aptos" panose="020B0004020202020204" pitchFamily="34" charset="0"/>
              </a:rPr>
              <a:t>temperaturas</a:t>
            </a:r>
            <a:endParaRPr lang="en-GB" kern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733B5E8-D7CD-A4F7-1561-2E591029DA0C}"/>
              </a:ext>
            </a:extLst>
          </p:cNvPr>
          <p:cNvGrpSpPr/>
          <p:nvPr/>
        </p:nvGrpSpPr>
        <p:grpSpPr>
          <a:xfrm>
            <a:off x="31156" y="1991024"/>
            <a:ext cx="6322608" cy="3875877"/>
            <a:chOff x="2790757" y="2142409"/>
            <a:chExt cx="6382272" cy="3912453"/>
          </a:xfrm>
        </p:grpSpPr>
        <p:pic>
          <p:nvPicPr>
            <p:cNvPr id="5" name="Imagem 2">
              <a:extLst>
                <a:ext uri="{FF2B5EF4-FFF2-40B4-BE49-F238E27FC236}">
                  <a16:creationId xmlns:a16="http://schemas.microsoft.com/office/drawing/2014/main" id="{503FC80E-A9F2-C36B-276A-61BEB19217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3732" b="-2"/>
            <a:stretch>
              <a:fillRect/>
            </a:stretch>
          </p:blipFill>
          <p:spPr bwMode="auto">
            <a:xfrm>
              <a:off x="2790757" y="2142409"/>
              <a:ext cx="6382271" cy="18974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Imagem 3">
              <a:extLst>
                <a:ext uri="{FF2B5EF4-FFF2-40B4-BE49-F238E27FC236}">
                  <a16:creationId xmlns:a16="http://schemas.microsoft.com/office/drawing/2014/main" id="{11622E46-2B4F-276E-AD3C-DB28023C33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0758" y="4295425"/>
              <a:ext cx="6382271" cy="1759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2" descr="Universidade de Coimbra tem nova logomarca">
            <a:extLst>
              <a:ext uri="{FF2B5EF4-FFF2-40B4-BE49-F238E27FC236}">
                <a16:creationId xmlns:a16="http://schemas.microsoft.com/office/drawing/2014/main" id="{DA9728C8-BEBD-E260-8105-87E8E40FCF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3" b="10436"/>
          <a:stretch/>
        </p:blipFill>
        <p:spPr bwMode="auto">
          <a:xfrm>
            <a:off x="7523429" y="471834"/>
            <a:ext cx="1445045" cy="73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BA1E52A2-1DE0-B467-972D-EB76E3FDF3AD}"/>
              </a:ext>
            </a:extLst>
          </p:cNvPr>
          <p:cNvSpPr txBox="1"/>
          <p:nvPr/>
        </p:nvSpPr>
        <p:spPr>
          <a:xfrm>
            <a:off x="6465415" y="3366344"/>
            <a:ext cx="276234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latin typeface="Aptos" panose="020B0004020202020204" pitchFamily="34" charset="0"/>
              </a:rPr>
              <a:t>Os resultados obtidos demonstram que </a:t>
            </a:r>
            <a:r>
              <a:rPr lang="pt-BR" sz="1600" b="1" dirty="0">
                <a:solidFill>
                  <a:srgbClr val="FF0000"/>
                </a:solidFill>
                <a:latin typeface="Aptos" panose="020B0004020202020204" pitchFamily="34" charset="0"/>
              </a:rPr>
              <a:t>as diferenças entre os vergalhões CA-50 e CA-70 da ArcelorMittal não são significativas</a:t>
            </a:r>
            <a:r>
              <a:rPr lang="pt-BR" sz="1600" dirty="0">
                <a:latin typeface="Aptos" panose="020B0004020202020204" pitchFamily="34" charset="0"/>
              </a:rPr>
              <a:t>. Esse resultado comprova o desempenho adequado desse novo produto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85BE436-489C-50EB-6EC7-82E2CB11EB92}"/>
              </a:ext>
            </a:extLst>
          </p:cNvPr>
          <p:cNvSpPr txBox="1"/>
          <p:nvPr/>
        </p:nvSpPr>
        <p:spPr>
          <a:xfrm>
            <a:off x="6294925" y="3252082"/>
            <a:ext cx="1595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“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C5ADA60-F075-EA78-EF3C-E366E7B51B0C}"/>
              </a:ext>
            </a:extLst>
          </p:cNvPr>
          <p:cNvSpPr txBox="1"/>
          <p:nvPr/>
        </p:nvSpPr>
        <p:spPr>
          <a:xfrm>
            <a:off x="8623426" y="5209961"/>
            <a:ext cx="5205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”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CBD6F771-84D1-7DBE-4102-11289D2B89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5415" y="1543235"/>
            <a:ext cx="2257574" cy="166047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0EB7A37D-3A58-AB54-C33B-9992741C4CA9}"/>
              </a:ext>
            </a:extLst>
          </p:cNvPr>
          <p:cNvSpPr txBox="1"/>
          <p:nvPr/>
        </p:nvSpPr>
        <p:spPr>
          <a:xfrm>
            <a:off x="142808" y="1771852"/>
            <a:ext cx="560713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685800">
              <a:defRPr/>
            </a:pPr>
            <a:r>
              <a:rPr lang="pt-BR" altLang="pt-BR" sz="160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F</a:t>
            </a:r>
            <a:r>
              <a:rPr lang="pt-BR" altLang="pt-BR" sz="1600" i="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atores de redução da </a:t>
            </a:r>
            <a:r>
              <a:rPr lang="pt-BR" altLang="pt-BR" sz="1600" b="1" i="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tensão de escoamento </a:t>
            </a:r>
            <a:r>
              <a:rPr lang="pt-BR" altLang="pt-BR" sz="1600" i="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(</a:t>
            </a:r>
            <a:r>
              <a:rPr lang="pt-BR" altLang="pt-BR" sz="1600" i="0" u="sng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ks,θ</a:t>
            </a:r>
            <a:r>
              <a:rPr lang="pt-BR" altLang="pt-BR" sz="1600" i="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4BC919D-E834-F6A8-D70E-C39E08EB7AB4}"/>
              </a:ext>
            </a:extLst>
          </p:cNvPr>
          <p:cNvSpPr txBox="1"/>
          <p:nvPr/>
        </p:nvSpPr>
        <p:spPr>
          <a:xfrm>
            <a:off x="31156" y="3860284"/>
            <a:ext cx="60329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685800">
              <a:defRPr/>
            </a:pPr>
            <a:r>
              <a:rPr lang="pt-BR" altLang="pt-BR" sz="160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Fator de redução do </a:t>
            </a:r>
            <a:r>
              <a:rPr lang="pt-BR" altLang="pt-BR" sz="1600" b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módulo de elasticidade </a:t>
            </a:r>
            <a:r>
              <a:rPr lang="pt-BR" altLang="pt-BR" sz="160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(</a:t>
            </a:r>
            <a:r>
              <a:rPr lang="pt-BR" altLang="pt-BR" sz="1600" u="sng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kEs,θ</a:t>
            </a:r>
            <a:r>
              <a:rPr lang="pt-BR" altLang="pt-BR" sz="160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186969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7F0B3EA-7152-9F73-E7E6-7822D01FE1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id="{80FF9170-F061-B7B4-C256-B5103A0D6F96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356" y="2117629"/>
            <a:ext cx="5131836" cy="292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EE9EBE88-9EBD-09FC-D54E-A8B0A0E4A0BA}"/>
              </a:ext>
            </a:extLst>
          </p:cNvPr>
          <p:cNvSpPr txBox="1"/>
          <p:nvPr/>
        </p:nvSpPr>
        <p:spPr>
          <a:xfrm>
            <a:off x="226216" y="1841523"/>
            <a:ext cx="3559731" cy="3927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0" fontAlgn="base" hangingPunct="0">
              <a:lnSpc>
                <a:spcPct val="150000"/>
              </a:lnSpc>
              <a:spcBef>
                <a:spcPts val="900"/>
              </a:spcBef>
              <a:spcAft>
                <a:spcPts val="450"/>
              </a:spcAft>
            </a:pP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s testes de fadiga para os vergalhões CA-70 da ArcelorMittal com diâmetro de 16 mm, realizados pelo laboratório </a:t>
            </a:r>
            <a:r>
              <a:rPr lang="pt-BR" sz="1200" b="1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SE</a:t>
            </a: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demonstraram que:</a:t>
            </a:r>
          </a:p>
          <a:p>
            <a:pPr marL="257175" indent="-257175" defTabSz="685800" eaLnBrk="0" fontAlgn="base" hangingPunct="0">
              <a:lnSpc>
                <a:spcPct val="150000"/>
              </a:lnSpc>
              <a:spcBef>
                <a:spcPts val="900"/>
              </a:spcBef>
              <a:spcAft>
                <a:spcPts val="450"/>
              </a:spcAft>
              <a:buFont typeface="Symbol" panose="05050102010706020507" pitchFamily="18" charset="2"/>
              <a:buChar char=""/>
            </a:pP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empenho </a:t>
            </a:r>
            <a:r>
              <a:rPr lang="pt-BR" sz="1200" b="1" kern="100" dirty="0">
                <a:solidFill>
                  <a:srgbClr val="FF0000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6% superior aos aços CA-50 em 2 milhões de ciclos</a:t>
            </a:r>
          </a:p>
          <a:p>
            <a:pPr marL="257175" indent="-257175" defTabSz="685800" eaLnBrk="0" fontAlgn="base" hangingPunct="0">
              <a:lnSpc>
                <a:spcPct val="150000"/>
              </a:lnSpc>
              <a:spcBef>
                <a:spcPts val="900"/>
              </a:spcBef>
              <a:spcAft>
                <a:spcPts val="450"/>
              </a:spcAft>
              <a:buFont typeface="Symbol" panose="05050102010706020507" pitchFamily="18" charset="2"/>
              <a:buChar char=""/>
            </a:pP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i possível obter, para a quantidade de amostras ensaiadas, um nível de confiança de 80% para os testes realizados de acordo a norma DIN 50100</a:t>
            </a:r>
          </a:p>
          <a:p>
            <a:pPr marL="257175" indent="-257175" defTabSz="685800" eaLnBrk="0" fontAlgn="base" hangingPunct="0">
              <a:lnSpc>
                <a:spcPct val="150000"/>
              </a:lnSpc>
              <a:spcBef>
                <a:spcPts val="900"/>
              </a:spcBef>
              <a:spcAft>
                <a:spcPts val="450"/>
              </a:spcAft>
              <a:buFont typeface="Symbol" panose="05050102010706020507" pitchFamily="18" charset="2"/>
              <a:buChar char=""/>
            </a:pP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s coeficientes angulares para o CA-70 são superiores aos valores previstos no </a:t>
            </a:r>
            <a:r>
              <a:rPr lang="pt-BR" sz="1200" kern="100" dirty="0" err="1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b</a:t>
            </a: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odel </a:t>
            </a:r>
            <a:r>
              <a:rPr lang="pt-BR" sz="1200" kern="100" dirty="0" err="1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de</a:t>
            </a:r>
            <a:r>
              <a:rPr lang="pt-BR" sz="1200" kern="100" dirty="0">
                <a:solidFill>
                  <a:prstClr val="black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2010 para os aços CA-50</a:t>
            </a:r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33" descr="LSE - Laboratório de Sistemas Estruturais - No geral, boa pra se trabalhar.  | Glassdoor">
            <a:extLst>
              <a:ext uri="{FF2B5EF4-FFF2-40B4-BE49-F238E27FC236}">
                <a16:creationId xmlns:a16="http://schemas.microsoft.com/office/drawing/2014/main" id="{42D81291-5EC3-EE16-ACDB-7B797A9BF7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967" y="193356"/>
            <a:ext cx="1105003" cy="1105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4">
            <a:extLst>
              <a:ext uri="{FF2B5EF4-FFF2-40B4-BE49-F238E27FC236}">
                <a16:creationId xmlns:a16="http://schemas.microsoft.com/office/drawing/2014/main" id="{7AB23795-358E-86EA-45D2-DB2B95B67889}"/>
              </a:ext>
            </a:extLst>
          </p:cNvPr>
          <p:cNvSpPr txBox="1">
            <a:spLocks/>
          </p:cNvSpPr>
          <p:nvPr/>
        </p:nvSpPr>
        <p:spPr>
          <a:xfrm>
            <a:off x="2170309" y="469007"/>
            <a:ext cx="6553661" cy="12136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Fadiga ArcelorMittal 70 AR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C3256105-1D40-FAC1-18A1-76944CDBE885}"/>
              </a:ext>
            </a:extLst>
          </p:cNvPr>
          <p:cNvSpPr txBox="1"/>
          <p:nvPr/>
        </p:nvSpPr>
        <p:spPr>
          <a:xfrm>
            <a:off x="4640108" y="3666926"/>
            <a:ext cx="1614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latin typeface="Aptos" panose="020B0004020202020204" pitchFamily="34" charset="0"/>
              </a:rPr>
              <a:t>Fadiga de alto cicl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85640CD-E358-8057-03EB-8D9D3B66761A}"/>
              </a:ext>
            </a:extLst>
          </p:cNvPr>
          <p:cNvSpPr txBox="1"/>
          <p:nvPr/>
        </p:nvSpPr>
        <p:spPr>
          <a:xfrm>
            <a:off x="6254169" y="4042846"/>
            <a:ext cx="1614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latin typeface="Aptos" panose="020B0004020202020204" pitchFamily="34" charset="0"/>
              </a:rPr>
              <a:t>Fadiga de longa vida</a:t>
            </a:r>
          </a:p>
        </p:txBody>
      </p:sp>
    </p:spTree>
    <p:extLst>
      <p:ext uri="{BB962C8B-B14F-4D97-AF65-F5344CB8AC3E}">
        <p14:creationId xmlns:p14="http://schemas.microsoft.com/office/powerpoint/2010/main" val="14460506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68EBB-514C-0042-62BB-E5C981B64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110;g28f92be7fd0_0_10">
            <a:extLst>
              <a:ext uri="{FF2B5EF4-FFF2-40B4-BE49-F238E27FC236}">
                <a16:creationId xmlns:a16="http://schemas.microsoft.com/office/drawing/2014/main" id="{507CE6BF-7724-FF93-66CC-532420396F5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11;g28f92be7fd0_0_10">
            <a:extLst>
              <a:ext uri="{FF2B5EF4-FFF2-40B4-BE49-F238E27FC236}">
                <a16:creationId xmlns:a16="http://schemas.microsoft.com/office/drawing/2014/main" id="{512CE226-33CE-C334-DFA6-76B7AE1C0FD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44">
            <a:extLst>
              <a:ext uri="{FF2B5EF4-FFF2-40B4-BE49-F238E27FC236}">
                <a16:creationId xmlns:a16="http://schemas.microsoft.com/office/drawing/2014/main" id="{7AB23795-358E-86EA-45D2-DB2B95B67889}"/>
              </a:ext>
            </a:extLst>
          </p:cNvPr>
          <p:cNvSpPr txBox="1">
            <a:spLocks/>
          </p:cNvSpPr>
          <p:nvPr/>
        </p:nvSpPr>
        <p:spPr>
          <a:xfrm>
            <a:off x="2235776" y="310125"/>
            <a:ext cx="4827498" cy="12136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cap="all" spc="3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kern="0" cap="none" dirty="0">
                <a:solidFill>
                  <a:srgbClr val="FF3700"/>
                </a:solidFill>
                <a:latin typeface="Aptos" panose="020B0004020202020204" pitchFamily="34" charset="0"/>
              </a:rPr>
              <a:t>Comprimento de ancoragem: Comparação entre modelos</a:t>
            </a:r>
            <a:endParaRPr lang="en-GB" kern="0" cap="none" dirty="0">
              <a:solidFill>
                <a:srgbClr val="FF3700"/>
              </a:solidFill>
              <a:latin typeface="Aptos" panose="020B000402020202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62BB17E-2F4D-3846-D701-9074D4C4EB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" r="45705" b="56253"/>
          <a:stretch/>
        </p:blipFill>
        <p:spPr>
          <a:xfrm>
            <a:off x="325508" y="1632954"/>
            <a:ext cx="3545452" cy="4018285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C27F1C8B-5DB2-6C09-500D-CD08ADD0D91A}"/>
              </a:ext>
            </a:extLst>
          </p:cNvPr>
          <p:cNvSpPr txBox="1"/>
          <p:nvPr/>
        </p:nvSpPr>
        <p:spPr>
          <a:xfrm>
            <a:off x="4123685" y="3627790"/>
            <a:ext cx="428316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1600" dirty="0">
              <a:latin typeface="Aptos" panose="020B0004020202020204" pitchFamily="34" charset="0"/>
            </a:endParaRPr>
          </a:p>
          <a:p>
            <a:r>
              <a:rPr lang="pt-BR" sz="1600" dirty="0">
                <a:latin typeface="Aptos" panose="020B0004020202020204" pitchFamily="34" charset="0"/>
              </a:rPr>
              <a:t>Ao avaliar o </a:t>
            </a:r>
            <a:r>
              <a:rPr lang="pt-BR" sz="1600" b="1" dirty="0">
                <a:latin typeface="Aptos" panose="020B0004020202020204" pitchFamily="34" charset="0"/>
              </a:rPr>
              <a:t>emprego do coeficiente de correção </a:t>
            </a:r>
            <a:r>
              <a:rPr lang="pt-BR" sz="1600" dirty="0">
                <a:latin typeface="Aptos" panose="020B0004020202020204" pitchFamily="34" charset="0"/>
              </a:rPr>
              <a:t>em função da tensão do aço, </a:t>
            </a:r>
            <a:r>
              <a:rPr lang="pt-BR" sz="1600" b="1" dirty="0">
                <a:latin typeface="Aptos" panose="020B0004020202020204" pitchFamily="34" charset="0"/>
              </a:rPr>
              <a:t>η</a:t>
            </a:r>
            <a:r>
              <a:rPr lang="pt-BR" sz="1600" b="1" baseline="-25000" dirty="0">
                <a:latin typeface="Aptos" panose="020B0004020202020204" pitchFamily="34" charset="0"/>
              </a:rPr>
              <a:t>4</a:t>
            </a:r>
            <a:r>
              <a:rPr lang="pt-BR" sz="1600" dirty="0">
                <a:latin typeface="Aptos" panose="020B0004020202020204" pitchFamily="34" charset="0"/>
              </a:rPr>
              <a:t>, na NBR 6118:23, foi observado o aumento do comprimento de ancoragem, favorecendo a segurança, e indicando que </a:t>
            </a:r>
            <a:r>
              <a:rPr lang="pt-BR" sz="1600" b="1" dirty="0">
                <a:latin typeface="Aptos" panose="020B0004020202020204" pitchFamily="34" charset="0"/>
              </a:rPr>
              <a:t>esta prática pode ser adotada na falta de uma formulação nacional</a:t>
            </a:r>
            <a:r>
              <a:rPr lang="pt-BR" sz="1600" dirty="0">
                <a:latin typeface="Aptos" panose="020B0004020202020204" pitchFamily="34" charset="0"/>
              </a:rPr>
              <a:t>. </a:t>
            </a:r>
          </a:p>
          <a:p>
            <a:endParaRPr lang="pt-BR" sz="1600" dirty="0">
              <a:latin typeface="Aptos" panose="020B0004020202020204" pitchFamily="34" charset="0"/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A8788C4A-5141-BA13-5BC2-9EA291ADDAA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286" b="1"/>
          <a:stretch/>
        </p:blipFill>
        <p:spPr>
          <a:xfrm>
            <a:off x="4269063" y="1908392"/>
            <a:ext cx="4012393" cy="1818640"/>
          </a:xfrm>
          <a:prstGeom prst="rect">
            <a:avLst/>
          </a:prstGeom>
        </p:spPr>
      </p:pic>
      <p:pic>
        <p:nvPicPr>
          <p:cNvPr id="16" name="Picture 44" descr="Como ingressar na USP? - Curso Anglo">
            <a:extLst>
              <a:ext uri="{FF2B5EF4-FFF2-40B4-BE49-F238E27FC236}">
                <a16:creationId xmlns:a16="http://schemas.microsoft.com/office/drawing/2014/main" id="{9F1C2C4A-8E22-2942-F825-D3E97A1ACE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4" t="28533" r="15190" b="26490"/>
          <a:stretch/>
        </p:blipFill>
        <p:spPr bwMode="auto">
          <a:xfrm>
            <a:off x="7624577" y="439912"/>
            <a:ext cx="1008139" cy="50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18AE07D6-928D-D9EB-433C-D500AF3CDF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5920" y="1051891"/>
            <a:ext cx="2026194" cy="549881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E1784CE4-A583-9C34-4E84-A44B492F10B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641" t="89841" r="13030" b="-1041"/>
          <a:stretch/>
        </p:blipFill>
        <p:spPr>
          <a:xfrm>
            <a:off x="325508" y="5760434"/>
            <a:ext cx="3846391" cy="874046"/>
          </a:xfrm>
          <a:prstGeom prst="rect">
            <a:avLst/>
          </a:prstGeom>
        </p:spPr>
      </p:pic>
      <p:pic>
        <p:nvPicPr>
          <p:cNvPr id="20" name="Imagem 19" descr="Uma imagem contendo Texto&#10;&#10;Descrição gerada automaticamente">
            <a:extLst>
              <a:ext uri="{FF2B5EF4-FFF2-40B4-BE49-F238E27FC236}">
                <a16:creationId xmlns:a16="http://schemas.microsoft.com/office/drawing/2014/main" id="{B49CCE5D-85CC-BD14-E8EB-6F3F0E8213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1934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!!Rectangle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25" name="Imagem 224" descr="Uma imagem contendo ao ar livre, grama, cerca, edifício&#10;&#10;O conteúdo gerado por IA pode estar incorreto.">
            <a:extLst>
              <a:ext uri="{FF2B5EF4-FFF2-40B4-BE49-F238E27FC236}">
                <a16:creationId xmlns:a16="http://schemas.microsoft.com/office/drawing/2014/main" id="{680544F7-59BB-84EA-E00A-F1EC83239F4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81448" y="47859"/>
            <a:ext cx="12106914" cy="681014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51A3B07B-A7D4-2BAB-7AFA-9DDBA66DDC24}"/>
              </a:ext>
            </a:extLst>
          </p:cNvPr>
          <p:cNvSpPr txBox="1"/>
          <p:nvPr/>
        </p:nvSpPr>
        <p:spPr>
          <a:xfrm>
            <a:off x="630937" y="1563624"/>
            <a:ext cx="7879842" cy="154305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/>
          <a:p>
            <a:pPr defTabSz="6858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Case de </a:t>
            </a:r>
            <a:r>
              <a:rPr lang="en-US" sz="3750" b="1" dirty="0" err="1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sucesso</a:t>
            </a: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:  </a:t>
            </a:r>
            <a:r>
              <a:rPr lang="en-US" sz="3750" b="1" dirty="0" err="1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Ampliação</a:t>
            </a: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 </a:t>
            </a:r>
            <a:r>
              <a:rPr lang="en-US" sz="3750" b="1" dirty="0" err="1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Galpão</a:t>
            </a: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 </a:t>
            </a:r>
            <a:r>
              <a:rPr lang="en-US" sz="3750" b="1" dirty="0" err="1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Tambasa</a:t>
            </a: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 </a:t>
            </a:r>
            <a:r>
              <a:rPr lang="en-US" sz="3750" b="1" dirty="0" err="1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Contagem</a:t>
            </a:r>
            <a:r>
              <a:rPr lang="en-US" sz="3750" b="1" dirty="0">
                <a:ln w="22225"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 Light" panose="020F0302020204030204"/>
              </a:rPr>
              <a:t>-MG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40105" y="1117343"/>
            <a:ext cx="109728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3288152"/>
            <a:ext cx="7879842" cy="13716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E6DBB295-BA5D-1FC3-84AC-4341175E8D62}"/>
              </a:ext>
            </a:extLst>
          </p:cNvPr>
          <p:cNvSpPr txBox="1"/>
          <p:nvPr/>
        </p:nvSpPr>
        <p:spPr>
          <a:xfrm>
            <a:off x="630936" y="3483864"/>
            <a:ext cx="7879842" cy="200253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indent="-171450" defTabSz="68580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white"/>
                </a:solidFill>
                <a:latin typeface="Calibri" panose="020F0502020204030204"/>
              </a:rPr>
              <a:t>O galpão de 100.000 m² da obra </a:t>
            </a:r>
            <a:r>
              <a:rPr lang="pt-BR" dirty="0" err="1">
                <a:solidFill>
                  <a:prstClr val="white"/>
                </a:solidFill>
                <a:latin typeface="Calibri" panose="020F0502020204030204"/>
              </a:rPr>
              <a:t>Tambasa</a:t>
            </a:r>
            <a:r>
              <a:rPr lang="pt-BR" dirty="0">
                <a:solidFill>
                  <a:prstClr val="white"/>
                </a:solidFill>
                <a:latin typeface="Calibri" panose="020F0502020204030204"/>
              </a:rPr>
              <a:t> foi projetado com aço de alta resistência Ø25,00 da ArcelorMittal, proporcionando uma economia de 30% no consumo deste aço nas vigas.</a:t>
            </a:r>
            <a:br>
              <a:rPr lang="en-US" dirty="0">
                <a:solidFill>
                  <a:prstClr val="white"/>
                </a:solidFill>
                <a:latin typeface="Calibri" panose="020F0502020204030204"/>
              </a:rPr>
            </a:br>
            <a:br>
              <a:rPr lang="en-US" dirty="0">
                <a:solidFill>
                  <a:prstClr val="white"/>
                </a:solidFill>
                <a:latin typeface="Calibri" panose="020F0502020204030204"/>
              </a:rPr>
            </a:b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B9BABE5-29BE-46E1-8510-2D7BFA58F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45402" y="5624513"/>
            <a:ext cx="1865376" cy="273844"/>
          </a:xfrm>
        </p:spPr>
        <p:txBody>
          <a:bodyPr vert="horz" lIns="68580" tIns="34290" rIns="68580" bIns="34290" rtlCol="0" anchor="ctr">
            <a:normAutofit/>
          </a:bodyPr>
          <a:lstStyle/>
          <a:p>
            <a:pPr defTabSz="685800">
              <a:spcAft>
                <a:spcPts val="450"/>
              </a:spcAft>
              <a:defRPr/>
            </a:pPr>
            <a:fld id="{5B8FE5C7-39ED-49A0-8A85-32874FDEE907}" type="slidenum">
              <a:rPr lang="en-US">
                <a:solidFill>
                  <a:prstClr val="white"/>
                </a:solidFill>
                <a:latin typeface="Calibri" panose="020F0502020204030204"/>
              </a:rPr>
              <a:pPr defTabSz="685800">
                <a:spcAft>
                  <a:spcPts val="450"/>
                </a:spcAft>
                <a:defRPr/>
              </a:pPr>
              <a:t>36</a:t>
            </a:fld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7" name="Imagem 6" descr="Logotipo&#10;&#10;Descrição gerada automaticamente">
            <a:extLst>
              <a:ext uri="{FF2B5EF4-FFF2-40B4-BE49-F238E27FC236}">
                <a16:creationId xmlns:a16="http://schemas.microsoft.com/office/drawing/2014/main" id="{C9CE7982-C87B-4D68-AAC4-821D2FE76F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780" y="922677"/>
            <a:ext cx="1490646" cy="33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95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C0A1ED06-4733-4020-9C60-81D4D80140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85725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CA3509-3AF9-45FE-93ED-57BB5D5E8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0541" y="993432"/>
            <a:ext cx="8867728" cy="487581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Espaço Reservado para Conteúdo 5" descr="Trem passando em trilho perto de ponte&#10;&#10;O conteúdo gerado por IA pode estar incorreto.">
            <a:extLst>
              <a:ext uri="{FF2B5EF4-FFF2-40B4-BE49-F238E27FC236}">
                <a16:creationId xmlns:a16="http://schemas.microsoft.com/office/drawing/2014/main" id="{5162196F-B27B-9FC7-E91C-470EC031BCE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1"/>
          <a:stretch/>
        </p:blipFill>
        <p:spPr>
          <a:xfrm>
            <a:off x="-945452" y="273072"/>
            <a:ext cx="11481780" cy="6311856"/>
          </a:xfrm>
          <a:prstGeom prst="rect">
            <a:avLst/>
          </a:prstGeom>
        </p:spPr>
      </p:pic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9D74896-B36F-65B5-794C-E8A13F09F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5624513"/>
            <a:ext cx="2057400" cy="273844"/>
          </a:xfrm>
        </p:spPr>
        <p:txBody>
          <a:bodyPr>
            <a:normAutofit/>
          </a:bodyPr>
          <a:lstStyle/>
          <a:p>
            <a:pPr defTabSz="685800">
              <a:spcAft>
                <a:spcPts val="450"/>
              </a:spcAft>
            </a:pPr>
            <a:fld id="{5B8FE5C7-39ED-49A0-8A85-32874FDEE90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685800">
                <a:spcAft>
                  <a:spcPts val="450"/>
                </a:spcAft>
              </a:pPr>
              <a:t>37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7" name="Imagem 6" descr="Logotipo&#10;&#10;Descrição gerada automaticamente">
            <a:extLst>
              <a:ext uri="{FF2B5EF4-FFF2-40B4-BE49-F238E27FC236}">
                <a16:creationId xmlns:a16="http://schemas.microsoft.com/office/drawing/2014/main" id="{C0E466C4-F554-BBB2-AD4C-EEE07DB29F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780" y="922677"/>
            <a:ext cx="1490646" cy="33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8700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7E47798A-6D14-F758-761D-4821E4ADE0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9381"/>
          <a:stretch/>
        </p:blipFill>
        <p:spPr>
          <a:xfrm>
            <a:off x="-1523998" y="1"/>
            <a:ext cx="12191996" cy="6858000"/>
          </a:xfrm>
          <a:prstGeom prst="rect">
            <a:avLst/>
          </a:prstGeom>
        </p:spPr>
      </p:pic>
      <p:pic>
        <p:nvPicPr>
          <p:cNvPr id="6" name="Picture 3" descr="Shape&#10;&#10;Description automatically generated">
            <a:extLst>
              <a:ext uri="{FF2B5EF4-FFF2-40B4-BE49-F238E27FC236}">
                <a16:creationId xmlns:a16="http://schemas.microsoft.com/office/drawing/2014/main" id="{3F876C65-1369-EC4A-818D-4C84756387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0"/>
            <a:ext cx="5601904" cy="4651467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4224D454-37AF-4A25-B091-9AC2519850B1}"/>
              </a:ext>
            </a:extLst>
          </p:cNvPr>
          <p:cNvSpPr txBox="1">
            <a:spLocks/>
          </p:cNvSpPr>
          <p:nvPr/>
        </p:nvSpPr>
        <p:spPr bwMode="auto">
          <a:xfrm>
            <a:off x="382712" y="399870"/>
            <a:ext cx="2523439" cy="575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 i="0" baseline="0">
                <a:solidFill>
                  <a:schemeClr val="tx1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355">
              <a:defRPr/>
            </a:pPr>
            <a:r>
              <a:rPr lang="pt-BR" sz="2250" kern="0">
                <a:solidFill>
                  <a:srgbClr val="FFFFFF"/>
                </a:solidFill>
                <a:latin typeface="Arial"/>
                <a:ea typeface="MS PGothic"/>
                <a:cs typeface="Calibri"/>
              </a:rPr>
              <a:t>ECJ</a:t>
            </a:r>
          </a:p>
          <a:p>
            <a:pPr defTabSz="914355">
              <a:defRPr/>
            </a:pPr>
            <a:endParaRPr lang="pt-BR" sz="2250" kern="0">
              <a:solidFill>
                <a:srgbClr val="FFFFFF"/>
              </a:solidFill>
              <a:latin typeface="Arial"/>
              <a:ea typeface="MS PGothic"/>
              <a:cs typeface="Calibri"/>
            </a:endParaRPr>
          </a:p>
          <a:p>
            <a:pPr defTabSz="914355">
              <a:defRPr/>
            </a:pPr>
            <a:r>
              <a:rPr lang="pt-BR" sz="2250" kern="0">
                <a:solidFill>
                  <a:srgbClr val="FFFFFF"/>
                </a:solidFill>
                <a:latin typeface="Arial"/>
                <a:ea typeface="MS PGothic"/>
                <a:cs typeface="Calibri"/>
              </a:rPr>
              <a:t>Estrutura de Contenção a Jusante</a:t>
            </a:r>
          </a:p>
        </p:txBody>
      </p:sp>
    </p:spTree>
    <p:extLst>
      <p:ext uri="{BB962C8B-B14F-4D97-AF65-F5344CB8AC3E}">
        <p14:creationId xmlns:p14="http://schemas.microsoft.com/office/powerpoint/2010/main" val="37632273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4FC6B907-1E8E-4CEF-E2A6-BFD42C48A788}"/>
              </a:ext>
            </a:extLst>
          </p:cNvPr>
          <p:cNvSpPr/>
          <p:nvPr/>
        </p:nvSpPr>
        <p:spPr>
          <a:xfrm>
            <a:off x="286602" y="2098274"/>
            <a:ext cx="4118927" cy="4159665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defTabSz="342892">
              <a:lnSpc>
                <a:spcPct val="150000"/>
              </a:lnSpc>
              <a:defRPr/>
            </a:pPr>
            <a:r>
              <a:rPr lang="pt-BR" altLang="pt-BR" sz="1050" b="1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Conceito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Estrutura mista utilizando estacas metálicas de 1,5m de diâmetro e maciço de enrocamento. A maior parte das estacas serão preenchidas com concreto armad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Sistema de galerias e comportas com acionamento automátic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/>
                </a:solidFill>
                <a:latin typeface="Arial"/>
                <a:ea typeface="MS PGothic"/>
                <a:cs typeface="Arial" panose="020B0604020202020204" pitchFamily="34" charset="0"/>
              </a:rPr>
              <a:t>Retenção de 100% do rejeito no evento hipotético de uma ruptura da barragem, mantendo ainda a capacidade de clarificação da água para tratamento no reservatório do Rio Mans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endParaRPr lang="pt-BR" altLang="pt-BR" sz="1050" dirty="0">
              <a:solidFill>
                <a:srgbClr val="414141">
                  <a:lumMod val="50000"/>
                </a:srgbClr>
              </a:solidFill>
              <a:latin typeface="Arial"/>
              <a:ea typeface="MS PGothic"/>
              <a:cs typeface="Arial" panose="020B0604020202020204" pitchFamily="34" charset="0"/>
            </a:endParaRPr>
          </a:p>
          <a:p>
            <a:pPr defTabSz="342892">
              <a:lnSpc>
                <a:spcPct val="150000"/>
              </a:lnSpc>
              <a:defRPr/>
            </a:pPr>
            <a:r>
              <a:rPr lang="pt-BR" altLang="pt-BR" sz="1050" b="1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Principais Quantidades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/>
                </a:solidFill>
                <a:latin typeface="Arial"/>
                <a:ea typeface="MS PGothic"/>
                <a:cs typeface="Arial" panose="020B0604020202020204" pitchFamily="34" charset="0"/>
              </a:rPr>
              <a:t>990 estacas cravadas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31.000 </a:t>
            </a:r>
            <a:r>
              <a:rPr lang="pt-BR" altLang="pt-BR" sz="1050" dirty="0" err="1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ton</a:t>
            </a: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 de aço (estacas).</a:t>
            </a:r>
            <a:endParaRPr lang="pt-BR" altLang="pt-BR" sz="1050" dirty="0">
              <a:solidFill>
                <a:srgbClr val="414141"/>
              </a:solidFill>
              <a:latin typeface="Arial"/>
              <a:ea typeface="MS PGothic"/>
              <a:cs typeface="Arial" panose="020B0604020202020204" pitchFamily="34" charset="0"/>
            </a:endParaRP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225.000 m³ de escavaçã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315.000 m³ de enrocament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79.000 m³ de concreto.</a:t>
            </a:r>
          </a:p>
          <a:p>
            <a:pPr marL="128111" indent="-128111" defTabSz="342892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6.000 </a:t>
            </a:r>
            <a:r>
              <a:rPr lang="pt-BR" altLang="pt-BR" sz="1050" dirty="0" err="1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ton</a:t>
            </a:r>
            <a:r>
              <a:rPr lang="pt-BR" altLang="pt-BR" sz="1050" dirty="0">
                <a:solidFill>
                  <a:srgbClr val="414141">
                    <a:lumMod val="50000"/>
                  </a:srgbClr>
                </a:solidFill>
                <a:latin typeface="Arial"/>
                <a:ea typeface="MS PGothic"/>
                <a:cs typeface="Arial" panose="020B0604020202020204" pitchFamily="34" charset="0"/>
              </a:rPr>
              <a:t> de aço (vergalhões).</a:t>
            </a:r>
          </a:p>
        </p:txBody>
      </p:sp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073531" y="592942"/>
            <a:ext cx="2945509" cy="34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>
                <a:solidFill>
                  <a:srgbClr val="FF3700"/>
                </a:solidFill>
              </a:rPr>
              <a:t>Construção da ECJ</a:t>
            </a:r>
            <a:endParaRPr lang="en-US" sz="1650" b="1">
              <a:solidFill>
                <a:srgbClr val="FF3700"/>
              </a:solidFill>
              <a:highlight>
                <a:srgbClr val="00FF00"/>
              </a:highlight>
            </a:endParaRP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361DB823-B183-668A-56A9-606E4CC6A9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pic>
        <p:nvPicPr>
          <p:cNvPr id="7" name="Google Shape;110;g28f92be7fd0_0_10">
            <a:extLst>
              <a:ext uri="{FF2B5EF4-FFF2-40B4-BE49-F238E27FC236}">
                <a16:creationId xmlns:a16="http://schemas.microsoft.com/office/drawing/2014/main" id="{98D1C1A7-F984-633B-F6A0-BEB32358C2C4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11;g28f92be7fd0_0_10">
            <a:extLst>
              <a:ext uri="{FF2B5EF4-FFF2-40B4-BE49-F238E27FC236}">
                <a16:creationId xmlns:a16="http://schemas.microsoft.com/office/drawing/2014/main" id="{C648324C-7C59-2ABB-A12E-44B2AEB328A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E3E60A63-1EBD-1055-0F00-61839E9FE74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73" r="8104"/>
          <a:stretch/>
        </p:blipFill>
        <p:spPr>
          <a:xfrm>
            <a:off x="4450246" y="1709921"/>
            <a:ext cx="4693754" cy="383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45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9B7CF-F06B-427C-B87F-21C7E0F660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5BC1617B-7430-FE0F-F206-1D1918266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0FAB178C-705F-71EB-6AF1-05F9C49A93E1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AA25DC9-2A77-4986-D36A-BF001A838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EFDAD06-A446-EAE3-8687-DE78939F8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3ED8CD67-D46C-E811-13AD-F68511A75353}"/>
              </a:ext>
            </a:extLst>
          </p:cNvPr>
          <p:cNvSpPr txBox="1"/>
          <p:nvPr/>
        </p:nvSpPr>
        <p:spPr>
          <a:xfrm>
            <a:off x="455152" y="1382596"/>
            <a:ext cx="8452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aracterísticas das cordoalhas nuas de 3 e 7 fios com relaxação baixa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881E28D-BE71-4D9B-EDAC-640FB86C65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2294361" y="803276"/>
            <a:ext cx="47737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0245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4FDD4645-8FD3-5514-91D9-F0E143E01A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9695"/>
          <a:stretch/>
        </p:blipFill>
        <p:spPr>
          <a:xfrm>
            <a:off x="-1411461" y="1"/>
            <a:ext cx="12063384" cy="6858000"/>
          </a:xfrm>
          <a:prstGeom prst="rect">
            <a:avLst/>
          </a:prstGeom>
        </p:spPr>
      </p:pic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0654BC7C-D626-73D9-BA2D-5367E120E48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3330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DAE8D14C-3D86-42A6-76EC-2EFFF2AA02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374"/>
          <a:stretch/>
        </p:blipFill>
        <p:spPr>
          <a:xfrm>
            <a:off x="-1411461" y="1"/>
            <a:ext cx="12063384" cy="6858000"/>
          </a:xfrm>
          <a:prstGeom prst="rect">
            <a:avLst/>
          </a:prstGeom>
        </p:spPr>
      </p:pic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2EC50606-22F3-F89B-65B4-45DB43D62A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7059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Agrupar 20">
            <a:extLst>
              <a:ext uri="{FF2B5EF4-FFF2-40B4-BE49-F238E27FC236}">
                <a16:creationId xmlns:a16="http://schemas.microsoft.com/office/drawing/2014/main" id="{09FBE6BA-BD7E-A3D9-850F-D0C7A36454C5}"/>
              </a:ext>
            </a:extLst>
          </p:cNvPr>
          <p:cNvGrpSpPr/>
          <p:nvPr/>
        </p:nvGrpSpPr>
        <p:grpSpPr>
          <a:xfrm>
            <a:off x="443738" y="2206141"/>
            <a:ext cx="8256524" cy="4098346"/>
            <a:chOff x="2667000" y="357202"/>
            <a:chExt cx="13816119" cy="6858000"/>
          </a:xfrm>
        </p:grpSpPr>
        <p:pic>
          <p:nvPicPr>
            <p:cNvPr id="24" name="Imagem 23" descr="Forma, Círculo&#10;&#10;Descrição gerada automaticamente">
              <a:extLst>
                <a:ext uri="{FF2B5EF4-FFF2-40B4-BE49-F238E27FC236}">
                  <a16:creationId xmlns:a16="http://schemas.microsoft.com/office/drawing/2014/main" id="{DA0A190F-E184-EE63-99F8-F37C4BB76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7000" y="357202"/>
              <a:ext cx="6858000" cy="6858000"/>
            </a:xfrm>
            <a:prstGeom prst="rect">
              <a:avLst/>
            </a:prstGeom>
          </p:spPr>
        </p:pic>
        <p:pic>
          <p:nvPicPr>
            <p:cNvPr id="25" name="Imagem 24" descr="Forma, Círculo&#10;&#10;Descrição gerada automaticamente">
              <a:extLst>
                <a:ext uri="{FF2B5EF4-FFF2-40B4-BE49-F238E27FC236}">
                  <a16:creationId xmlns:a16="http://schemas.microsoft.com/office/drawing/2014/main" id="{0D92DEF1-0358-2861-6F52-7138E70D4D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25119" y="357206"/>
              <a:ext cx="6858000" cy="6857991"/>
            </a:xfrm>
            <a:prstGeom prst="rect">
              <a:avLst/>
            </a:prstGeom>
          </p:spPr>
        </p:pic>
      </p:grp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B0453113-B6BA-37AD-454F-7BA91F19E9F1}"/>
              </a:ext>
            </a:extLst>
          </p:cNvPr>
          <p:cNvCxnSpPr>
            <a:cxnSpLocks/>
          </p:cNvCxnSpPr>
          <p:nvPr/>
        </p:nvCxnSpPr>
        <p:spPr>
          <a:xfrm>
            <a:off x="1933026" y="2489603"/>
            <a:ext cx="264974" cy="622697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7287F003-BA3B-EC60-D3FD-55C0F9003021}"/>
              </a:ext>
            </a:extLst>
          </p:cNvPr>
          <p:cNvCxnSpPr>
            <a:cxnSpLocks/>
          </p:cNvCxnSpPr>
          <p:nvPr/>
        </p:nvCxnSpPr>
        <p:spPr>
          <a:xfrm>
            <a:off x="2026066" y="2453308"/>
            <a:ext cx="257876" cy="617619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5E683359-8976-DFEA-3034-518FFEADD977}"/>
              </a:ext>
            </a:extLst>
          </p:cNvPr>
          <p:cNvCxnSpPr>
            <a:cxnSpLocks/>
          </p:cNvCxnSpPr>
          <p:nvPr/>
        </p:nvCxnSpPr>
        <p:spPr>
          <a:xfrm flipV="1">
            <a:off x="1918657" y="3041366"/>
            <a:ext cx="240479" cy="120824"/>
          </a:xfrm>
          <a:prstGeom prst="line">
            <a:avLst/>
          </a:prstGeom>
          <a:ln w="57150">
            <a:solidFill>
              <a:srgbClr val="FA674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A8F2537B-EC86-876A-9870-7A1A47E05111}"/>
              </a:ext>
            </a:extLst>
          </p:cNvPr>
          <p:cNvCxnSpPr>
            <a:cxnSpLocks/>
          </p:cNvCxnSpPr>
          <p:nvPr/>
        </p:nvCxnSpPr>
        <p:spPr>
          <a:xfrm flipV="1">
            <a:off x="2283942" y="2885860"/>
            <a:ext cx="240479" cy="120824"/>
          </a:xfrm>
          <a:prstGeom prst="line">
            <a:avLst/>
          </a:prstGeom>
          <a:ln w="57150">
            <a:solidFill>
              <a:srgbClr val="FA6745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3CA36757-1433-5B3A-0BFB-076B32902D07}"/>
              </a:ext>
            </a:extLst>
          </p:cNvPr>
          <p:cNvSpPr txBox="1"/>
          <p:nvPr/>
        </p:nvSpPr>
        <p:spPr>
          <a:xfrm rot="20064061">
            <a:off x="2034275" y="2923334"/>
            <a:ext cx="67953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>
                <a:solidFill>
                  <a:srgbClr val="FF6600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4,0 </a:t>
            </a:r>
            <a:r>
              <a:rPr lang="pt-BR" sz="1050" b="1">
                <a:solidFill>
                  <a:srgbClr val="FF6600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cm</a:t>
            </a:r>
            <a:endParaRPr lang="pt-BR" b="1">
              <a:solidFill>
                <a:srgbClr val="FF6600"/>
              </a:solidFill>
              <a:latin typeface="Calibri" panose="020F0502020204030204" pitchFamily="34" charset="0"/>
              <a:ea typeface="MS PGothic"/>
              <a:cs typeface="Arial" panose="020B0604020202020204" pitchFamily="34" charset="0"/>
            </a:endParaRP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925D03D6-B0DF-8606-A2D6-1F178A70CE8E}"/>
              </a:ext>
            </a:extLst>
          </p:cNvPr>
          <p:cNvCxnSpPr>
            <a:cxnSpLocks/>
          </p:cNvCxnSpPr>
          <p:nvPr/>
        </p:nvCxnSpPr>
        <p:spPr>
          <a:xfrm>
            <a:off x="5945825" y="2707530"/>
            <a:ext cx="264974" cy="622697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25D966B5-FDD3-2353-E0FE-D3ABA483436C}"/>
              </a:ext>
            </a:extLst>
          </p:cNvPr>
          <p:cNvCxnSpPr>
            <a:cxnSpLocks/>
          </p:cNvCxnSpPr>
          <p:nvPr/>
        </p:nvCxnSpPr>
        <p:spPr>
          <a:xfrm>
            <a:off x="6102827" y="2637024"/>
            <a:ext cx="257876" cy="617619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F4DE0DC7-86D7-B9BF-B010-1A0F555C13F7}"/>
              </a:ext>
            </a:extLst>
          </p:cNvPr>
          <p:cNvCxnSpPr>
            <a:cxnSpLocks/>
          </p:cNvCxnSpPr>
          <p:nvPr/>
        </p:nvCxnSpPr>
        <p:spPr>
          <a:xfrm flipV="1">
            <a:off x="5931456" y="3259294"/>
            <a:ext cx="240479" cy="120824"/>
          </a:xfrm>
          <a:prstGeom prst="line">
            <a:avLst/>
          </a:prstGeom>
          <a:ln w="57150">
            <a:solidFill>
              <a:srgbClr val="FA674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EB394C71-3A1B-4776-271E-160F9AEA8577}"/>
              </a:ext>
            </a:extLst>
          </p:cNvPr>
          <p:cNvCxnSpPr>
            <a:cxnSpLocks/>
          </p:cNvCxnSpPr>
          <p:nvPr/>
        </p:nvCxnSpPr>
        <p:spPr>
          <a:xfrm flipV="1">
            <a:off x="6360703" y="3069576"/>
            <a:ext cx="240479" cy="120824"/>
          </a:xfrm>
          <a:prstGeom prst="line">
            <a:avLst/>
          </a:prstGeom>
          <a:ln w="57150">
            <a:solidFill>
              <a:srgbClr val="FA6745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9AB96B3-29E1-0201-10FC-F79EF8CD7D43}"/>
              </a:ext>
            </a:extLst>
          </p:cNvPr>
          <p:cNvSpPr txBox="1"/>
          <p:nvPr/>
        </p:nvSpPr>
        <p:spPr>
          <a:xfrm rot="20064061">
            <a:off x="6125365" y="3177683"/>
            <a:ext cx="696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>
                <a:solidFill>
                  <a:srgbClr val="FF6600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6,7 </a:t>
            </a:r>
            <a:r>
              <a:rPr lang="pt-BR" sz="1050" b="1">
                <a:solidFill>
                  <a:srgbClr val="FF6600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cm</a:t>
            </a:r>
            <a:endParaRPr lang="pt-BR" b="1">
              <a:solidFill>
                <a:srgbClr val="FF6600"/>
              </a:solidFill>
              <a:latin typeface="Calibri" panose="020F0502020204030204" pitchFamily="34" charset="0"/>
              <a:ea typeface="MS PGothic"/>
              <a:cs typeface="Arial" panose="020B0604020202020204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890AB6F9-9434-FF27-E3A3-0FFFF4803E11}"/>
              </a:ext>
            </a:extLst>
          </p:cNvPr>
          <p:cNvSpPr txBox="1"/>
          <p:nvPr/>
        </p:nvSpPr>
        <p:spPr>
          <a:xfrm>
            <a:off x="1525290" y="6178542"/>
            <a:ext cx="221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110 </a:t>
            </a:r>
            <a:r>
              <a:rPr lang="el-G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50</a:t>
            </a:r>
            <a:endParaRPr lang="pt-BR" b="1">
              <a:solidFill>
                <a:srgbClr val="414141"/>
              </a:solidFill>
              <a:latin typeface="Calibri" panose="020F0502020204030204" pitchFamily="34" charset="0"/>
              <a:ea typeface="MS PGothic"/>
              <a:cs typeface="Arial" panose="020B0604020202020204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FE56ACCF-4EED-3E9A-687D-B32F6EE28729}"/>
              </a:ext>
            </a:extLst>
          </p:cNvPr>
          <p:cNvSpPr txBox="1"/>
          <p:nvPr/>
        </p:nvSpPr>
        <p:spPr>
          <a:xfrm>
            <a:off x="5217950" y="6177350"/>
            <a:ext cx="232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Arial" panose="020B0604020202020204" pitchFamily="34" charset="0"/>
              </a:rPr>
              <a:t>80 </a:t>
            </a:r>
            <a:r>
              <a:rPr lang="el-G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b="1">
                <a:solidFill>
                  <a:srgbClr val="41414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70 AR</a:t>
            </a:r>
            <a:endParaRPr lang="pt-BR" b="1">
              <a:solidFill>
                <a:srgbClr val="414141"/>
              </a:solidFill>
              <a:latin typeface="Calibri" panose="020F0502020204030204" pitchFamily="34" charset="0"/>
              <a:ea typeface="MS PGothic"/>
              <a:cs typeface="Arial" panose="020B0604020202020204" pitchFamily="34" charset="0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1CAA90EC-A0FA-3F6F-1293-A6F0DA3EA232}"/>
              </a:ext>
            </a:extLst>
          </p:cNvPr>
          <p:cNvSpPr txBox="1"/>
          <p:nvPr/>
        </p:nvSpPr>
        <p:spPr>
          <a:xfrm>
            <a:off x="390448" y="1636115"/>
            <a:ext cx="3795319" cy="681810"/>
          </a:xfrm>
          <a:prstGeom prst="roundRect">
            <a:avLst>
              <a:gd name="adj" fmla="val 21457"/>
            </a:avLst>
          </a:prstGeom>
          <a:solidFill>
            <a:srgbClr val="FA6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013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" sz="21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CA50S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110 </a:t>
            </a:r>
            <a:r>
              <a:rPr lang="el-G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50</a:t>
            </a:r>
            <a:endParaRPr lang="en" sz="2400" b="1">
              <a:solidFill>
                <a:srgbClr val="FFFFFF"/>
              </a:solidFill>
              <a:latin typeface="Gilroy" panose="00000500000000000000"/>
              <a:ea typeface="MS PGothic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9C00CF45-4677-EF12-3AE2-4B9B5D88A798}"/>
              </a:ext>
            </a:extLst>
          </p:cNvPr>
          <p:cNvSpPr txBox="1"/>
          <p:nvPr/>
        </p:nvSpPr>
        <p:spPr>
          <a:xfrm>
            <a:off x="4832332" y="1636115"/>
            <a:ext cx="3795319" cy="681810"/>
          </a:xfrm>
          <a:prstGeom prst="roundRect">
            <a:avLst>
              <a:gd name="adj" fmla="val 21457"/>
            </a:avLst>
          </a:prstGeom>
          <a:solidFill>
            <a:srgbClr val="FA6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013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" sz="21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CA70S-AR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80 </a:t>
            </a:r>
            <a:r>
              <a:rPr lang="el-G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70</a:t>
            </a:r>
            <a:endParaRPr lang="en" sz="2400" b="1">
              <a:solidFill>
                <a:srgbClr val="FFFFFF"/>
              </a:solidFill>
              <a:latin typeface="Gilroy" panose="00000500000000000000"/>
              <a:ea typeface="MS PGothic"/>
            </a:endParaRPr>
          </a:p>
        </p:txBody>
      </p:sp>
      <p:pic>
        <p:nvPicPr>
          <p:cNvPr id="2" name="Imagem 1" descr="Uma imagem contendo Texto&#10;&#10;Descrição gerada automaticamente">
            <a:extLst>
              <a:ext uri="{FF2B5EF4-FFF2-40B4-BE49-F238E27FC236}">
                <a16:creationId xmlns:a16="http://schemas.microsoft.com/office/drawing/2014/main" id="{092CF085-5CEC-2D58-F043-41EC9B1FBD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  <p:pic>
        <p:nvPicPr>
          <p:cNvPr id="3" name="Google Shape;110;g28f92be7fd0_0_10">
            <a:extLst>
              <a:ext uri="{FF2B5EF4-FFF2-40B4-BE49-F238E27FC236}">
                <a16:creationId xmlns:a16="http://schemas.microsoft.com/office/drawing/2014/main" id="{1A9099DA-C528-AFE6-2A75-CDE20DD40F5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11;g28f92be7fd0_0_10">
            <a:extLst>
              <a:ext uri="{FF2B5EF4-FFF2-40B4-BE49-F238E27FC236}">
                <a16:creationId xmlns:a16="http://schemas.microsoft.com/office/drawing/2014/main" id="{04E16C4E-D37A-354D-6D2D-E3531697094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45511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0CE6735C-2E8F-5017-8017-032311F47B11}"/>
              </a:ext>
            </a:extLst>
          </p:cNvPr>
          <p:cNvGrpSpPr/>
          <p:nvPr/>
        </p:nvGrpSpPr>
        <p:grpSpPr>
          <a:xfrm>
            <a:off x="368611" y="857250"/>
            <a:ext cx="8609504" cy="5143500"/>
            <a:chOff x="-19369201" y="-5645499"/>
            <a:chExt cx="13333399" cy="7965658"/>
          </a:xfrm>
        </p:grpSpPr>
        <p:pic>
          <p:nvPicPr>
            <p:cNvPr id="5" name="Imagem 4" descr="Uma imagem contendo no interior, xícara, cesta, cheio&#10;&#10;Descrição gerada automaticamente">
              <a:extLst>
                <a:ext uri="{FF2B5EF4-FFF2-40B4-BE49-F238E27FC236}">
                  <a16:creationId xmlns:a16="http://schemas.microsoft.com/office/drawing/2014/main" id="{429ACAC3-5FF6-3088-D74A-AD8B18BA45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5" r="8439"/>
            <a:stretch/>
          </p:blipFill>
          <p:spPr>
            <a:xfrm>
              <a:off x="-12657393" y="-5645499"/>
              <a:ext cx="6621591" cy="7965658"/>
            </a:xfrm>
            <a:prstGeom prst="rect">
              <a:avLst/>
            </a:prstGeom>
          </p:spPr>
        </p:pic>
        <p:pic>
          <p:nvPicPr>
            <p:cNvPr id="4" name="Imagem 3" descr="Uma imagem contendo no interior, cesta, cortina, metal&#10;&#10;Descrição gerada automaticamente">
              <a:extLst>
                <a:ext uri="{FF2B5EF4-FFF2-40B4-BE49-F238E27FC236}">
                  <a16:creationId xmlns:a16="http://schemas.microsoft.com/office/drawing/2014/main" id="{A3396764-0F50-0977-51C5-1E0AB99B4C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54" r="9688"/>
            <a:stretch/>
          </p:blipFill>
          <p:spPr>
            <a:xfrm>
              <a:off x="-19369201" y="-5645499"/>
              <a:ext cx="6369185" cy="7965658"/>
            </a:xfrm>
            <a:prstGeom prst="rect">
              <a:avLst/>
            </a:prstGeom>
          </p:spPr>
        </p:pic>
      </p:grpSp>
      <p:sp>
        <p:nvSpPr>
          <p:cNvPr id="9" name="CaixaDeTexto 8">
            <a:extLst>
              <a:ext uri="{FF2B5EF4-FFF2-40B4-BE49-F238E27FC236}">
                <a16:creationId xmlns:a16="http://schemas.microsoft.com/office/drawing/2014/main" id="{63842A36-767E-959E-A126-9597933B62B7}"/>
              </a:ext>
            </a:extLst>
          </p:cNvPr>
          <p:cNvSpPr txBox="1"/>
          <p:nvPr/>
        </p:nvSpPr>
        <p:spPr>
          <a:xfrm>
            <a:off x="494112" y="1035412"/>
            <a:ext cx="3795319" cy="681810"/>
          </a:xfrm>
          <a:prstGeom prst="roundRect">
            <a:avLst>
              <a:gd name="adj" fmla="val 21457"/>
            </a:avLst>
          </a:prstGeom>
          <a:solidFill>
            <a:srgbClr val="FA6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013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" sz="21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CA50S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110 </a:t>
            </a:r>
            <a:r>
              <a:rPr lang="el-G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50</a:t>
            </a:r>
            <a:endParaRPr lang="en" sz="2400" b="1">
              <a:solidFill>
                <a:srgbClr val="FFFFFF"/>
              </a:solidFill>
              <a:latin typeface="Gilroy" panose="00000500000000000000"/>
              <a:ea typeface="MS PGothic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F496A0BA-E513-0A5E-8F54-ABA28F0DBAC3}"/>
              </a:ext>
            </a:extLst>
          </p:cNvPr>
          <p:cNvSpPr txBox="1"/>
          <p:nvPr/>
        </p:nvSpPr>
        <p:spPr>
          <a:xfrm>
            <a:off x="4935996" y="1035412"/>
            <a:ext cx="3795319" cy="681810"/>
          </a:xfrm>
          <a:prstGeom prst="roundRect">
            <a:avLst>
              <a:gd name="adj" fmla="val 21457"/>
            </a:avLst>
          </a:prstGeom>
          <a:solidFill>
            <a:srgbClr val="FA6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013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" sz="21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CA70S-AR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80 </a:t>
            </a:r>
            <a:r>
              <a:rPr lang="el-G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φ</a:t>
            </a:r>
            <a:r>
              <a:rPr lang="pt-BR" sz="1800" b="1">
                <a:solidFill>
                  <a:srgbClr val="FFFFFF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rPr>
              <a:t> 32,0mm CA70</a:t>
            </a:r>
            <a:endParaRPr lang="en" sz="2400" b="1">
              <a:solidFill>
                <a:srgbClr val="FFFFFF"/>
              </a:solidFill>
              <a:latin typeface="Gilroy" panose="00000500000000000000"/>
              <a:ea typeface="MS PGothic"/>
            </a:endParaRPr>
          </a:p>
        </p:txBody>
      </p:sp>
      <p:pic>
        <p:nvPicPr>
          <p:cNvPr id="3" name="Google Shape;110;g28f92be7fd0_0_10">
            <a:extLst>
              <a:ext uri="{FF2B5EF4-FFF2-40B4-BE49-F238E27FC236}">
                <a16:creationId xmlns:a16="http://schemas.microsoft.com/office/drawing/2014/main" id="{2E4F751F-C000-A2B9-02B6-4BE80B435CA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71"/>
          <a:stretch/>
        </p:blipFill>
        <p:spPr>
          <a:xfrm flipH="1">
            <a:off x="7344553" y="5421999"/>
            <a:ext cx="1802799" cy="1436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11;g28f92be7fd0_0_10">
            <a:extLst>
              <a:ext uri="{FF2B5EF4-FFF2-40B4-BE49-F238E27FC236}">
                <a16:creationId xmlns:a16="http://schemas.microsoft.com/office/drawing/2014/main" id="{B0FB3A68-E9C7-FE7A-220D-523B3F14714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5716" y="6076804"/>
            <a:ext cx="1125476" cy="464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70816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245719" y="68555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err="1">
                <a:solidFill>
                  <a:srgbClr val="FF3700"/>
                </a:solidFill>
              </a:rPr>
              <a:t>Fabricação</a:t>
            </a:r>
            <a:endParaRPr lang="en-US" sz="1650" b="1">
              <a:solidFill>
                <a:srgbClr val="FF3700"/>
              </a:solidFill>
            </a:endParaRP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86DC21A-FE20-8892-4A36-15DC2332EF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330" y="1712556"/>
            <a:ext cx="4666866" cy="4288195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E276FDA-89DA-0178-6027-3F76D24122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0920" y="1712557"/>
            <a:ext cx="4069211" cy="4434244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8EA6302B-FD11-96B4-FD05-5D1022999FE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BE3AFC04-D1CA-9B2A-5296-2C452BB6C7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4693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225399" y="618091"/>
            <a:ext cx="663199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err="1">
                <a:solidFill>
                  <a:srgbClr val="FF3700"/>
                </a:solidFill>
              </a:rPr>
              <a:t>Transporte</a:t>
            </a:r>
            <a:endParaRPr lang="en-US" sz="1650" b="1">
              <a:solidFill>
                <a:srgbClr val="FF3700"/>
              </a:solidFill>
            </a:endParaRP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ECA9A9CE-84B7-22F3-E3A3-95B89E6095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395" y="1809141"/>
            <a:ext cx="6631999" cy="4738733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0ECBD461-DEDA-8869-69A2-5FF87897F3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193D6622-AE7C-9CAF-39FD-20BCAAF205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8189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073531" y="68555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err="1">
                <a:solidFill>
                  <a:srgbClr val="FF3700"/>
                </a:solidFill>
              </a:rPr>
              <a:t>Descarga</a:t>
            </a:r>
            <a:r>
              <a:rPr lang="en-US" sz="1650" b="1">
                <a:solidFill>
                  <a:srgbClr val="FF3700"/>
                </a:solidFill>
              </a:rPr>
              <a:t> e Estoque</a:t>
            </a: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1AC323D-D679-6CE4-4E09-AE167FD509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44" r="5787" b="6332"/>
          <a:stretch/>
        </p:blipFill>
        <p:spPr>
          <a:xfrm>
            <a:off x="96463" y="2288072"/>
            <a:ext cx="4201217" cy="338195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4366479A-C481-1A81-5A7B-55C449EBC3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37"/>
          <a:stretch/>
        </p:blipFill>
        <p:spPr>
          <a:xfrm>
            <a:off x="4608926" y="2069773"/>
            <a:ext cx="4438611" cy="3930977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736768DF-F30D-E5A8-C8F7-F7386CD337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7CA0ED3A-E16D-7BB4-F118-F77D008F13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069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215239" y="685550"/>
            <a:ext cx="6642159" cy="27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dirty="0" err="1">
                <a:solidFill>
                  <a:srgbClr val="FF3700"/>
                </a:solidFill>
              </a:rPr>
              <a:t>Emenda</a:t>
            </a:r>
            <a:r>
              <a:rPr lang="en-US" sz="1650" b="1" dirty="0">
                <a:solidFill>
                  <a:srgbClr val="FF3700"/>
                </a:solidFill>
              </a:rPr>
              <a:t> dos </a:t>
            </a:r>
            <a:r>
              <a:rPr lang="en-US" sz="1650" b="1" dirty="0" err="1">
                <a:solidFill>
                  <a:srgbClr val="FF3700"/>
                </a:solidFill>
              </a:rPr>
              <a:t>Módulos</a:t>
            </a:r>
            <a:endParaRPr lang="en-US" sz="1650" b="1" dirty="0">
              <a:solidFill>
                <a:srgbClr val="FF3700"/>
              </a:solidFill>
            </a:endParaRP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29C5E24-4377-60DF-C733-F6CCEF5F84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462" y="1932880"/>
            <a:ext cx="3997683" cy="384260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D5F42507-12AD-8CEF-33AE-452EDD61F6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2997" y="1932880"/>
            <a:ext cx="4674541" cy="3874174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50865C0B-A03C-E717-F953-6D72AD45C8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004117E2-07AE-D1D4-067B-2DC69C70C9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84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F8E96E7-61D8-E9B3-4248-16FBDC8A4192}"/>
              </a:ext>
            </a:extLst>
          </p:cNvPr>
          <p:cNvSpPr txBox="1">
            <a:spLocks/>
          </p:cNvSpPr>
          <p:nvPr/>
        </p:nvSpPr>
        <p:spPr>
          <a:xfrm>
            <a:off x="2205079" y="68555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err="1">
                <a:solidFill>
                  <a:srgbClr val="FF3700"/>
                </a:solidFill>
              </a:rPr>
              <a:t>Lançamento</a:t>
            </a:r>
            <a:r>
              <a:rPr lang="en-US" sz="1650" b="1">
                <a:solidFill>
                  <a:srgbClr val="FF3700"/>
                </a:solidFill>
              </a:rPr>
              <a:t> da </a:t>
            </a:r>
            <a:r>
              <a:rPr lang="en-US" sz="1650" b="1" err="1">
                <a:solidFill>
                  <a:srgbClr val="FF3700"/>
                </a:solidFill>
              </a:rPr>
              <a:t>Armação</a:t>
            </a:r>
            <a:endParaRPr lang="en-US" sz="1650" b="1">
              <a:solidFill>
                <a:srgbClr val="FF3700"/>
              </a:solidFill>
            </a:endParaRPr>
          </a:p>
        </p:txBody>
      </p:sp>
      <p:pic>
        <p:nvPicPr>
          <p:cNvPr id="5" name="Picture 5" descr="Shape&#10;&#10;Description automatically generated">
            <a:extLst>
              <a:ext uri="{FF2B5EF4-FFF2-40B4-BE49-F238E27FC236}">
                <a16:creationId xmlns:a16="http://schemas.microsoft.com/office/drawing/2014/main" id="{4DFCD1BC-7A47-4827-1E12-C2689D2FD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847550"/>
            <a:ext cx="115721" cy="515320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0F50B04A-4E9F-FE79-3FF5-97BBDA4A13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549" y="1601215"/>
            <a:ext cx="6549331" cy="4946659"/>
          </a:xfrm>
          <a:prstGeom prst="rect">
            <a:avLst/>
          </a:prstGeom>
        </p:spPr>
      </p:pic>
      <p:pic>
        <p:nvPicPr>
          <p:cNvPr id="3" name="Picture 5" descr="Shape&#10;&#10;Description automatically generated">
            <a:extLst>
              <a:ext uri="{FF2B5EF4-FFF2-40B4-BE49-F238E27FC236}">
                <a16:creationId xmlns:a16="http://schemas.microsoft.com/office/drawing/2014/main" id="{C2AEFCC8-4F29-4394-2D54-FBD5CF42EE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6989" b="12939"/>
          <a:stretch/>
        </p:blipFill>
        <p:spPr>
          <a:xfrm>
            <a:off x="-19259" y="-9700"/>
            <a:ext cx="115721" cy="6867700"/>
          </a:xfrm>
          <a:prstGeom prst="rect">
            <a:avLst/>
          </a:prstGeom>
        </p:spPr>
      </p:pic>
      <p:pic>
        <p:nvPicPr>
          <p:cNvPr id="6" name="Imagem 5" descr="Uma imagem contendo Texto&#10;&#10;Descrição gerada automaticamente">
            <a:extLst>
              <a:ext uri="{FF2B5EF4-FFF2-40B4-BE49-F238E27FC236}">
                <a16:creationId xmlns:a16="http://schemas.microsoft.com/office/drawing/2014/main" id="{DB6D0EAD-3A29-62DD-4306-4C189F6DC6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9788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FAACE5E-D5D9-A7FA-E1BB-BC8F8DAB04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629" t="2896" r="1032" b="7327"/>
          <a:stretch/>
        </p:blipFill>
        <p:spPr>
          <a:xfrm>
            <a:off x="-2201485" y="0"/>
            <a:ext cx="12269584" cy="6858000"/>
          </a:xfrm>
          <a:prstGeom prst="rect">
            <a:avLst/>
          </a:prstGeom>
        </p:spPr>
      </p:pic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9CCCA31C-88D6-4E69-44B2-A8FF98382E55}"/>
              </a:ext>
            </a:extLst>
          </p:cNvPr>
          <p:cNvSpPr/>
          <p:nvPr/>
        </p:nvSpPr>
        <p:spPr>
          <a:xfrm>
            <a:off x="135732" y="3507581"/>
            <a:ext cx="4436269" cy="1817039"/>
          </a:xfrm>
          <a:prstGeom prst="roundRect">
            <a:avLst>
              <a:gd name="adj" fmla="val 846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342892" eaLnBrk="0" fontAlgn="base" hangingPunct="0">
              <a:lnSpc>
                <a:spcPct val="150000"/>
              </a:lnSpc>
              <a:spcAft>
                <a:spcPct val="0"/>
              </a:spcAft>
              <a:buClr>
                <a:srgbClr val="414141"/>
              </a:buClr>
              <a:defRPr/>
            </a:pPr>
            <a:r>
              <a:rPr lang="pt-BR" sz="1050" dirty="0">
                <a:solidFill>
                  <a:prstClr val="black"/>
                </a:solidFill>
                <a:latin typeface="Aptos" panose="020B0004020202020204" pitchFamily="34" charset="0"/>
              </a:rPr>
              <a:t>A obra está localizada em Itajaí-SC e utiliza o vergalhão de alta resistência. O empreendimento possui </a:t>
            </a:r>
            <a:r>
              <a:rPr lang="pt-BR" sz="1050" b="1" dirty="0">
                <a:solidFill>
                  <a:srgbClr val="FF4A2A"/>
                </a:solidFill>
                <a:latin typeface="Aptos" panose="020B0004020202020204" pitchFamily="34" charset="0"/>
              </a:rPr>
              <a:t>3 torres </a:t>
            </a:r>
            <a:r>
              <a:rPr lang="pt-BR" sz="1050" dirty="0">
                <a:solidFill>
                  <a:prstClr val="black"/>
                </a:solidFill>
                <a:latin typeface="Aptos" panose="020B0004020202020204" pitchFamily="34" charset="0"/>
              </a:rPr>
              <a:t>com 31 pavimentos e área total de </a:t>
            </a:r>
            <a:r>
              <a:rPr lang="pt-BR" sz="1050" b="1" dirty="0">
                <a:solidFill>
                  <a:srgbClr val="FF4A2A"/>
                </a:solidFill>
                <a:latin typeface="Aptos" panose="020B0004020202020204" pitchFamily="34" charset="0"/>
              </a:rPr>
              <a:t>61.000m². </a:t>
            </a:r>
          </a:p>
          <a:p>
            <a:pPr algn="just" defTabSz="342892" eaLnBrk="0" fontAlgn="base" hangingPunct="0">
              <a:lnSpc>
                <a:spcPct val="150000"/>
              </a:lnSpc>
              <a:spcAft>
                <a:spcPct val="0"/>
              </a:spcAft>
              <a:buClr>
                <a:srgbClr val="414141"/>
              </a:buClr>
              <a:defRPr/>
            </a:pPr>
            <a:r>
              <a:rPr lang="pt-BR" sz="1050" dirty="0">
                <a:solidFill>
                  <a:prstClr val="black"/>
                </a:solidFill>
                <a:latin typeface="Aptos" panose="020B0004020202020204" pitchFamily="34" charset="0"/>
              </a:rPr>
              <a:t>O aço de ata resistência foi utilizado na fundação. Também foram utilizadas soluções como APS para Estacas e barras com comprimento definido,  eliminando a necessidade de alguns traspasses 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D1B5C07F-9559-428A-8742-9AE165068CF3}"/>
              </a:ext>
            </a:extLst>
          </p:cNvPr>
          <p:cNvSpPr txBox="1">
            <a:spLocks/>
          </p:cNvSpPr>
          <p:nvPr/>
        </p:nvSpPr>
        <p:spPr>
          <a:xfrm>
            <a:off x="342901" y="1036862"/>
            <a:ext cx="4127499" cy="25912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pt-BR" sz="4500" b="1" dirty="0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Aplicação do CA-70 S AR</a:t>
            </a:r>
          </a:p>
          <a:p>
            <a:pPr marL="0" indent="0" defTabSz="68580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pt-BR" sz="3000" b="1" dirty="0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OBRA 2420A</a:t>
            </a:r>
          </a:p>
        </p:txBody>
      </p:sp>
    </p:spTree>
    <p:extLst>
      <p:ext uri="{BB962C8B-B14F-4D97-AF65-F5344CB8AC3E}">
        <p14:creationId xmlns:p14="http://schemas.microsoft.com/office/powerpoint/2010/main" val="6932340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6B4A2-D32C-5EBE-5D8D-DB2C9060A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xplosão: 14 Pontos 14">
            <a:extLst>
              <a:ext uri="{FF2B5EF4-FFF2-40B4-BE49-F238E27FC236}">
                <a16:creationId xmlns:a16="http://schemas.microsoft.com/office/drawing/2014/main" id="{97B8A4CA-0E6C-C8D3-F7B5-34DD8704FE8D}"/>
              </a:ext>
            </a:extLst>
          </p:cNvPr>
          <p:cNvSpPr/>
          <p:nvPr/>
        </p:nvSpPr>
        <p:spPr>
          <a:xfrm rot="20701627">
            <a:off x="6729053" y="2118772"/>
            <a:ext cx="2376651" cy="1454551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DA649EC1-6C48-72DC-64FB-3773286482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3677329D-47FA-B3AF-C3EE-1CD4F76CD792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CFE17E6-980E-F199-EBCA-2962BD8DB3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CAC2ADD-B056-694C-6CFA-08585E264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74BEF066-1BC6-8C64-08CE-A7E1A50A9B3A}"/>
              </a:ext>
            </a:extLst>
          </p:cNvPr>
          <p:cNvSpPr txBox="1"/>
          <p:nvPr/>
        </p:nvSpPr>
        <p:spPr>
          <a:xfrm>
            <a:off x="347087" y="2135574"/>
            <a:ext cx="639393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-190 RB Ø 12,7 – Carga Mínima na Ruptura = 18726 kgf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-210 RB Ø 12,7 – Carga Mínima na Ruptura = 20703 kgf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41A36ED-D0E2-A569-2885-86F8CD5AEE17}"/>
              </a:ext>
            </a:extLst>
          </p:cNvPr>
          <p:cNvSpPr txBox="1"/>
          <p:nvPr/>
        </p:nvSpPr>
        <p:spPr>
          <a:xfrm>
            <a:off x="347087" y="3192805"/>
            <a:ext cx="639393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-190 RB Ø 15,2 – Carga Mínima na Ruptura = 26575 kgf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-210 RB Ø 15,2 – Carga Mínima na Ruptura = 29378 kgf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52862F9-665A-4AA9-E6A7-01166E1E5D02}"/>
              </a:ext>
            </a:extLst>
          </p:cNvPr>
          <p:cNvSpPr txBox="1"/>
          <p:nvPr/>
        </p:nvSpPr>
        <p:spPr>
          <a:xfrm>
            <a:off x="347087" y="1497175"/>
            <a:ext cx="75146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esistência à tração [kgf/mm</a:t>
            </a:r>
            <a:r>
              <a:rPr kumimoji="0" lang="pt-BR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] x Área mínima de seção de aço [mm</a:t>
            </a:r>
            <a:r>
              <a:rPr kumimoji="0" lang="pt-BR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]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A90C677-AB28-5685-FFF9-C906E4E7554F}"/>
              </a:ext>
            </a:extLst>
          </p:cNvPr>
          <p:cNvSpPr txBox="1"/>
          <p:nvPr/>
        </p:nvSpPr>
        <p:spPr>
          <a:xfrm>
            <a:off x="347087" y="4374727"/>
            <a:ext cx="7019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alores-limites na operação de protensão – ABNT NBR 6118:2023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858054A5-FCA0-6FB4-D740-5D54AB6A9989}"/>
              </a:ext>
            </a:extLst>
          </p:cNvPr>
          <p:cNvSpPr txBox="1"/>
          <p:nvPr/>
        </p:nvSpPr>
        <p:spPr>
          <a:xfrm>
            <a:off x="372026" y="4916129"/>
            <a:ext cx="6304931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é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-tracionada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aderente)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		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</a:t>
            </a:r>
            <a:r>
              <a:rPr kumimoji="0" lang="pt-BR" sz="1600" b="1" i="0" u="none" strike="noStrike" kern="1200" cap="none" spc="0" normalizeH="0" baseline="-25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i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 = 0,77 </a:t>
            </a: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f</a:t>
            </a:r>
            <a:r>
              <a:rPr kumimoji="0" lang="pt-BR" sz="1600" b="1" i="0" u="none" strike="noStrike" kern="1200" cap="none" spc="0" normalizeH="0" baseline="-2500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tk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pós-tracionada aderente			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</a:t>
            </a:r>
            <a:r>
              <a:rPr kumimoji="0" lang="pt-BR" sz="1600" b="1" i="0" u="none" strike="noStrike" kern="1200" cap="none" spc="0" normalizeH="0" baseline="-25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i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 = 0,74 </a:t>
            </a: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f</a:t>
            </a:r>
            <a:r>
              <a:rPr kumimoji="0" lang="pt-BR" sz="1600" b="1" i="0" u="none" strike="noStrike" kern="1200" cap="none" spc="0" normalizeH="0" baseline="-2500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tk</a:t>
            </a:r>
            <a:endParaRPr kumimoji="0" lang="pt-BR" sz="1600" b="1" i="0" u="none" strike="noStrike" kern="1200" cap="none" spc="0" normalizeH="0" baseline="-25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  <a:sym typeface="Symbol" panose="05050102010706020507" pitchFamily="18" charset="2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pós-tracionada não aderente		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</a:t>
            </a:r>
            <a:r>
              <a:rPr kumimoji="0" lang="pt-BR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i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 = 0,80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f</a:t>
            </a:r>
            <a:r>
              <a:rPr kumimoji="0" lang="pt-BR" sz="1600" b="0" i="0" u="none" strike="noStrike" kern="1200" cap="none" spc="0" normalizeH="0" baseline="-25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ptk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08DBE651-9230-7E4B-457E-E1216F7A67A7}"/>
              </a:ext>
            </a:extLst>
          </p:cNvPr>
          <p:cNvSpPr txBox="1"/>
          <p:nvPr/>
        </p:nvSpPr>
        <p:spPr>
          <a:xfrm rot="20062700">
            <a:off x="7095243" y="2642232"/>
            <a:ext cx="180379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 = 10,5 %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E6005C28-0D00-1DFE-257B-2557C24D162C}"/>
              </a:ext>
            </a:extLst>
          </p:cNvPr>
          <p:cNvSpPr txBox="1"/>
          <p:nvPr/>
        </p:nvSpPr>
        <p:spPr>
          <a:xfrm>
            <a:off x="6927229" y="4916129"/>
            <a:ext cx="180379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Errata 1:202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Symbol" panose="05050102010706020507" pitchFamily="18" charset="2"/>
              </a:rPr>
              <a:t>22.11.2023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625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ço Reservado para Número de Slide 2">
            <a:extLst>
              <a:ext uri="{FF2B5EF4-FFF2-40B4-BE49-F238E27FC236}">
                <a16:creationId xmlns:a16="http://schemas.microsoft.com/office/drawing/2014/main" id="{8A75B525-D894-DA08-C786-6964D6DF6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825493" y="5534813"/>
            <a:ext cx="305526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fld id="{C6EE6031-0A2D-4C00-8E5B-10FAE43132E6}" type="slidenum">
              <a:rPr lang="pt-BR" altLang="pt-BR" sz="1050">
                <a:solidFill>
                  <a:srgbClr val="FFFFFF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lang="pt-BR" altLang="pt-BR" sz="1050">
              <a:solidFill>
                <a:srgbClr val="FFFFFF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68913C92-AE03-5A5B-E0FD-1460EEB9B7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79773" y="5686157"/>
            <a:ext cx="1215572" cy="198606"/>
          </a:xfrm>
          <a:prstGeom prst="rect">
            <a:avLst/>
          </a:prstGeom>
        </p:spPr>
      </p:pic>
      <p:pic>
        <p:nvPicPr>
          <p:cNvPr id="8" name="Graphic 17">
            <a:extLst>
              <a:ext uri="{FF2B5EF4-FFF2-40B4-BE49-F238E27FC236}">
                <a16:creationId xmlns:a16="http://schemas.microsoft.com/office/drawing/2014/main" id="{ECB6B2F0-0D41-3BF0-C12D-E5077F17C0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46" y="5471491"/>
            <a:ext cx="1016417" cy="529259"/>
          </a:xfrm>
          <a:prstGeom prst="rect">
            <a:avLst/>
          </a:prstGeom>
        </p:spPr>
      </p:pic>
      <p:pic>
        <p:nvPicPr>
          <p:cNvPr id="7" name="Imagem 6" descr="Gráfico&#10;&#10;Descrição gerada automaticamente">
            <a:extLst>
              <a:ext uri="{FF2B5EF4-FFF2-40B4-BE49-F238E27FC236}">
                <a16:creationId xmlns:a16="http://schemas.microsoft.com/office/drawing/2014/main" id="{7946BA0D-85A1-4B13-6902-5D4194098A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77" y="2019091"/>
            <a:ext cx="8531979" cy="3594372"/>
          </a:xfrm>
          <a:prstGeom prst="rect">
            <a:avLst/>
          </a:prstGeom>
        </p:spPr>
      </p:pic>
      <p:sp>
        <p:nvSpPr>
          <p:cNvPr id="2" name="Title 11">
            <a:extLst>
              <a:ext uri="{FF2B5EF4-FFF2-40B4-BE49-F238E27FC236}">
                <a16:creationId xmlns:a16="http://schemas.microsoft.com/office/drawing/2014/main" id="{5C629BC4-8144-5FEF-C801-44750C8C7D74}"/>
              </a:ext>
            </a:extLst>
          </p:cNvPr>
          <p:cNvSpPr txBox="1">
            <a:spLocks/>
          </p:cNvSpPr>
          <p:nvPr/>
        </p:nvSpPr>
        <p:spPr>
          <a:xfrm>
            <a:off x="2205079" y="68555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dirty="0" err="1">
                <a:solidFill>
                  <a:srgbClr val="FF3700"/>
                </a:solidFill>
              </a:rPr>
              <a:t>Aplicação</a:t>
            </a:r>
            <a:r>
              <a:rPr lang="en-US" sz="1650" b="1" dirty="0">
                <a:solidFill>
                  <a:srgbClr val="FF3700"/>
                </a:solidFill>
              </a:rPr>
              <a:t> do CA70 </a:t>
            </a:r>
            <a:r>
              <a:rPr lang="en-US" sz="1650" b="1" dirty="0" err="1">
                <a:solidFill>
                  <a:srgbClr val="FF3700"/>
                </a:solidFill>
              </a:rPr>
              <a:t>em</a:t>
            </a:r>
            <a:r>
              <a:rPr lang="en-US" sz="1650" b="1" dirty="0">
                <a:solidFill>
                  <a:srgbClr val="FF3700"/>
                </a:solidFill>
              </a:rPr>
              <a:t> </a:t>
            </a:r>
            <a:r>
              <a:rPr lang="en-US" sz="1650" b="1" dirty="0" err="1">
                <a:solidFill>
                  <a:srgbClr val="FF3700"/>
                </a:solidFill>
              </a:rPr>
              <a:t>Fundações</a:t>
            </a:r>
            <a:endParaRPr lang="en-US" sz="1650" b="1" dirty="0">
              <a:solidFill>
                <a:srgbClr val="FF3700"/>
              </a:solidFill>
            </a:endParaRPr>
          </a:p>
        </p:txBody>
      </p:sp>
      <p:pic>
        <p:nvPicPr>
          <p:cNvPr id="3" name="Imagem 2" descr="Uma imagem contendo Texto&#10;&#10;Descrição gerada automaticamente">
            <a:extLst>
              <a:ext uri="{FF2B5EF4-FFF2-40B4-BE49-F238E27FC236}">
                <a16:creationId xmlns:a16="http://schemas.microsoft.com/office/drawing/2014/main" id="{47BF762F-91E2-C1F4-260E-48CA704436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107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ço Reservado para Número de Slide 2">
            <a:extLst>
              <a:ext uri="{FF2B5EF4-FFF2-40B4-BE49-F238E27FC236}">
                <a16:creationId xmlns:a16="http://schemas.microsoft.com/office/drawing/2014/main" id="{8A75B525-D894-DA08-C786-6964D6DF6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825493" y="5534813"/>
            <a:ext cx="305526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fld id="{C6EE6031-0A2D-4C00-8E5B-10FAE43132E6}" type="slidenum">
              <a:rPr lang="pt-BR" altLang="pt-BR" sz="1050">
                <a:solidFill>
                  <a:srgbClr val="FFFFFF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lang="pt-BR" altLang="pt-BR" sz="1050">
              <a:solidFill>
                <a:srgbClr val="FFFFFF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3" name="Imagem 2" descr="Uma imagem contendo cerca, ao ar livre, edifício, grama&#10;&#10;Descrição gerada automaticamente">
            <a:extLst>
              <a:ext uri="{FF2B5EF4-FFF2-40B4-BE49-F238E27FC236}">
                <a16:creationId xmlns:a16="http://schemas.microsoft.com/office/drawing/2014/main" id="{F502A70E-3A8A-96E5-7594-33E406C381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81" y="85725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4935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G_7924">
            <a:hlinkClick r:id="" action="ppaction://media"/>
            <a:extLst>
              <a:ext uri="{FF2B5EF4-FFF2-40B4-BE49-F238E27FC236}">
                <a16:creationId xmlns:a16="http://schemas.microsoft.com/office/drawing/2014/main" id="{6C056576-BFB3-D123-C5AA-2548698A700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3756" b="15556"/>
          <a:stretch/>
        </p:blipFill>
        <p:spPr>
          <a:xfrm>
            <a:off x="141514" y="1009651"/>
            <a:ext cx="3886201" cy="4883682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6E2DF69-8F7B-F07C-587C-12E18DCD4F1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89" b="17238"/>
          <a:stretch/>
        </p:blipFill>
        <p:spPr>
          <a:xfrm>
            <a:off x="4103914" y="1009651"/>
            <a:ext cx="4958181" cy="488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20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75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cerca, fio, metal, ovelha&#10;&#10;Descrição gerada automaticamente">
            <a:extLst>
              <a:ext uri="{FF2B5EF4-FFF2-40B4-BE49-F238E27FC236}">
                <a16:creationId xmlns:a16="http://schemas.microsoft.com/office/drawing/2014/main" id="{15E6FB7F-87EB-6791-3758-7A4A72851D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2"/>
          <a:stretch/>
        </p:blipFill>
        <p:spPr>
          <a:xfrm>
            <a:off x="4637314" y="1042307"/>
            <a:ext cx="4360691" cy="4849586"/>
          </a:xfrm>
          <a:prstGeom prst="rect">
            <a:avLst/>
          </a:prstGeom>
        </p:spPr>
      </p:pic>
      <p:pic>
        <p:nvPicPr>
          <p:cNvPr id="6" name="Imagem 5" descr="Cidade vista de cima de uma cerca&#10;&#10;Descrição gerada automaticamente com confiança média">
            <a:extLst>
              <a:ext uri="{FF2B5EF4-FFF2-40B4-BE49-F238E27FC236}">
                <a16:creationId xmlns:a16="http://schemas.microsoft.com/office/drawing/2014/main" id="{7C70480F-76E8-E22C-1FB9-22C9E5A43E1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2"/>
          <a:stretch/>
        </p:blipFill>
        <p:spPr>
          <a:xfrm>
            <a:off x="124223" y="1042307"/>
            <a:ext cx="4360691" cy="484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7243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CaixaDeTexto 38"/>
          <p:cNvSpPr txBox="1">
            <a:spLocks noChangeArrowheads="1"/>
          </p:cNvSpPr>
          <p:nvPr/>
        </p:nvSpPr>
        <p:spPr bwMode="auto">
          <a:xfrm>
            <a:off x="89502" y="1085400"/>
            <a:ext cx="5184576" cy="669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pt-BR" altLang="pt-BR" sz="2400" b="1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plicação do CA70 S/AR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pt-BR" altLang="pt-BR" sz="1350" b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dações</a:t>
            </a:r>
          </a:p>
        </p:txBody>
      </p:sp>
      <p:sp>
        <p:nvSpPr>
          <p:cNvPr id="17" name="Espaço Reservado para Número de Slide 2">
            <a:extLst>
              <a:ext uri="{FF2B5EF4-FFF2-40B4-BE49-F238E27FC236}">
                <a16:creationId xmlns:a16="http://schemas.microsoft.com/office/drawing/2014/main" id="{8A75B525-D894-DA08-C786-6964D6DF6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825493" y="5534813"/>
            <a:ext cx="305526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fld id="{C6EE6031-0A2D-4C00-8E5B-10FAE43132E6}" type="slidenum">
              <a:rPr lang="pt-BR" altLang="pt-BR" sz="1050">
                <a:solidFill>
                  <a:srgbClr val="FFFFFF"/>
                </a:solidFill>
                <a:latin typeface="Montserrat" panose="00000500000000000000" pitchFamily="50" charset="0"/>
                <a:cs typeface="Arial" panose="020B0604020202020204" pitchFamily="34" charset="0"/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4</a:t>
            </a:fld>
            <a:endParaRPr lang="pt-BR" altLang="pt-BR" sz="1050">
              <a:solidFill>
                <a:srgbClr val="FFFFFF"/>
              </a:solidFill>
              <a:latin typeface="Montserrat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29043939-A1A6-059C-592C-BAD8DCBFFD33}"/>
              </a:ext>
            </a:extLst>
          </p:cNvPr>
          <p:cNvSpPr/>
          <p:nvPr/>
        </p:nvSpPr>
        <p:spPr>
          <a:xfrm>
            <a:off x="3148678" y="4937742"/>
            <a:ext cx="654469" cy="654469"/>
          </a:xfrm>
          <a:prstGeom prst="ellipse">
            <a:avLst/>
          </a:prstGeom>
          <a:solidFill>
            <a:srgbClr val="FF3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3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" name="Imagem 3" descr="Uma imagem contendo placa, pare, frente, branco&#10;&#10;Descrição gerada automaticamente">
            <a:extLst>
              <a:ext uri="{FF2B5EF4-FFF2-40B4-BE49-F238E27FC236}">
                <a16:creationId xmlns:a16="http://schemas.microsoft.com/office/drawing/2014/main" id="{1C175F93-8082-5339-4A6F-19C34745A7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1955" y="4971020"/>
            <a:ext cx="587913" cy="587913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3E2AA15B-E4AF-4B7C-2B30-9F7735229222}"/>
              </a:ext>
            </a:extLst>
          </p:cNvPr>
          <p:cNvSpPr/>
          <p:nvPr/>
        </p:nvSpPr>
        <p:spPr>
          <a:xfrm>
            <a:off x="3903825" y="4927949"/>
            <a:ext cx="3661748" cy="65446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dirty="0">
                <a:solidFill>
                  <a:srgbClr val="FF3100"/>
                </a:solidFill>
                <a:latin typeface="Aileron Black" panose="00000A00000000000000" pitchFamily="50" charset="0"/>
              </a:rPr>
              <a:t>Economia Estimada: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92ECB7E-AF1A-5703-E49B-EBB0996CA639}"/>
              </a:ext>
            </a:extLst>
          </p:cNvPr>
          <p:cNvSpPr txBox="1"/>
          <p:nvPr/>
        </p:nvSpPr>
        <p:spPr>
          <a:xfrm>
            <a:off x="6282214" y="5034143"/>
            <a:ext cx="1218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dirty="0">
                <a:solidFill>
                  <a:srgbClr val="FF3100"/>
                </a:solidFill>
                <a:latin typeface="Aileron Black" panose="00000A00000000000000" pitchFamily="50" charset="0"/>
                <a:cs typeface="Arial" panose="020B0604020202020204" pitchFamily="34" charset="0"/>
              </a:rPr>
              <a:t>-12,7%</a:t>
            </a:r>
          </a:p>
        </p:txBody>
      </p:sp>
      <p:graphicFrame>
        <p:nvGraphicFramePr>
          <p:cNvPr id="7" name="Tabela 6">
            <a:extLst>
              <a:ext uri="{FF2B5EF4-FFF2-40B4-BE49-F238E27FC236}">
                <a16:creationId xmlns:a16="http://schemas.microsoft.com/office/drawing/2014/main" id="{4752C89C-18A5-2728-3FA8-965BB49FAEFF}"/>
              </a:ext>
            </a:extLst>
          </p:cNvPr>
          <p:cNvGraphicFramePr>
            <a:graphicFrameLocks noGrp="1"/>
          </p:cNvGraphicFramePr>
          <p:nvPr/>
        </p:nvGraphicFramePr>
        <p:xfrm>
          <a:off x="3361225" y="2341436"/>
          <a:ext cx="5769797" cy="2472692"/>
        </p:xfrm>
        <a:graphic>
          <a:graphicData uri="http://schemas.openxmlformats.org/drawingml/2006/table">
            <a:tbl>
              <a:tblPr/>
              <a:tblGrid>
                <a:gridCol w="822569">
                  <a:extLst>
                    <a:ext uri="{9D8B030D-6E8A-4147-A177-3AD203B41FA5}">
                      <a16:colId xmlns:a16="http://schemas.microsoft.com/office/drawing/2014/main" val="4147895958"/>
                    </a:ext>
                  </a:extLst>
                </a:gridCol>
                <a:gridCol w="784749">
                  <a:extLst>
                    <a:ext uri="{9D8B030D-6E8A-4147-A177-3AD203B41FA5}">
                      <a16:colId xmlns:a16="http://schemas.microsoft.com/office/drawing/2014/main" val="1065318285"/>
                    </a:ext>
                  </a:extLst>
                </a:gridCol>
                <a:gridCol w="85093">
                  <a:extLst>
                    <a:ext uri="{9D8B030D-6E8A-4147-A177-3AD203B41FA5}">
                      <a16:colId xmlns:a16="http://schemas.microsoft.com/office/drawing/2014/main" val="2674586967"/>
                    </a:ext>
                  </a:extLst>
                </a:gridCol>
                <a:gridCol w="784749">
                  <a:extLst>
                    <a:ext uri="{9D8B030D-6E8A-4147-A177-3AD203B41FA5}">
                      <a16:colId xmlns:a16="http://schemas.microsoft.com/office/drawing/2014/main" val="2450698592"/>
                    </a:ext>
                  </a:extLst>
                </a:gridCol>
                <a:gridCol w="264735">
                  <a:extLst>
                    <a:ext uri="{9D8B030D-6E8A-4147-A177-3AD203B41FA5}">
                      <a16:colId xmlns:a16="http://schemas.microsoft.com/office/drawing/2014/main" val="4212290950"/>
                    </a:ext>
                  </a:extLst>
                </a:gridCol>
                <a:gridCol w="822569">
                  <a:extLst>
                    <a:ext uri="{9D8B030D-6E8A-4147-A177-3AD203B41FA5}">
                      <a16:colId xmlns:a16="http://schemas.microsoft.com/office/drawing/2014/main" val="600882189"/>
                    </a:ext>
                  </a:extLst>
                </a:gridCol>
                <a:gridCol w="673655">
                  <a:extLst>
                    <a:ext uri="{9D8B030D-6E8A-4147-A177-3AD203B41FA5}">
                      <a16:colId xmlns:a16="http://schemas.microsoft.com/office/drawing/2014/main" val="1018834265"/>
                    </a:ext>
                  </a:extLst>
                </a:gridCol>
                <a:gridCol w="141822">
                  <a:extLst>
                    <a:ext uri="{9D8B030D-6E8A-4147-A177-3AD203B41FA5}">
                      <a16:colId xmlns:a16="http://schemas.microsoft.com/office/drawing/2014/main" val="3288959922"/>
                    </a:ext>
                  </a:extLst>
                </a:gridCol>
                <a:gridCol w="854820">
                  <a:extLst>
                    <a:ext uri="{9D8B030D-6E8A-4147-A177-3AD203B41FA5}">
                      <a16:colId xmlns:a16="http://schemas.microsoft.com/office/drawing/2014/main" val="3596565845"/>
                    </a:ext>
                  </a:extLst>
                </a:gridCol>
                <a:gridCol w="535036">
                  <a:extLst>
                    <a:ext uri="{9D8B030D-6E8A-4147-A177-3AD203B41FA5}">
                      <a16:colId xmlns:a16="http://schemas.microsoft.com/office/drawing/2014/main" val="8929127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>
                          <a:solidFill>
                            <a:srgbClr val="595959"/>
                          </a:solidFill>
                          <a:effectLst/>
                          <a:latin typeface="Aileron Black" panose="00000A00000000000000" pitchFamily="50" charset="0"/>
                        </a:rPr>
                        <a:t>Solução Atual</a:t>
                      </a: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>
                          <a:solidFill>
                            <a:srgbClr val="FF3300"/>
                          </a:solidFill>
                          <a:effectLst/>
                          <a:latin typeface="Aileron Black" panose="00000A00000000000000" pitchFamily="50" charset="0"/>
                        </a:rPr>
                        <a:t>Solução CA70S/AR</a:t>
                      </a: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355475"/>
                  </a:ext>
                </a:extLst>
              </a:tr>
              <a:tr h="478631"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Bitola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Peso </a:t>
                      </a:r>
                      <a:b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</a:br>
                      <a:r>
                        <a:rPr lang="pt-BR" sz="11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(kg)</a:t>
                      </a:r>
                      <a:endParaRPr lang="pt-BR" sz="1500" b="1" i="0" u="none" strike="noStrike">
                        <a:solidFill>
                          <a:srgbClr val="F2F2F2"/>
                        </a:solidFill>
                        <a:effectLst/>
                        <a:latin typeface="Aileron Black" panose="00000A00000000000000" pitchFamily="50" charset="0"/>
                      </a:endParaRP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 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Aço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Bitola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Peso </a:t>
                      </a:r>
                      <a:r>
                        <a:rPr lang="pt-BR" sz="11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(kg)</a:t>
                      </a:r>
                      <a:endParaRPr lang="pt-BR" sz="1500" b="1" i="0" u="none" strike="noStrike">
                        <a:solidFill>
                          <a:srgbClr val="F2F2F2"/>
                        </a:solidFill>
                        <a:effectLst/>
                        <a:latin typeface="Aileron Black" panose="00000A00000000000000" pitchFamily="50" charset="0"/>
                      </a:endParaRP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 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500" b="1" i="0" u="none" strike="noStrike">
                          <a:solidFill>
                            <a:srgbClr val="F2F2F2"/>
                          </a:solidFill>
                          <a:effectLst/>
                          <a:latin typeface="Aileron Black" panose="00000A00000000000000" pitchFamily="50" charset="0"/>
                        </a:rPr>
                        <a:t>Aço</a:t>
                      </a:r>
                    </a:p>
                  </a:txBody>
                  <a:tcPr marL="7144" marR="7144" marT="714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409789"/>
                  </a:ext>
                </a:extLst>
              </a:tr>
              <a:tr h="21288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5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6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5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6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pt-BR" sz="900" b="1" i="0" u="none" strike="noStrike" kern="120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7874806"/>
                  </a:ext>
                </a:extLst>
              </a:tr>
              <a:tr h="21288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6,3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6,3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pt-BR" sz="900" b="1" i="0" u="none" strike="noStrike" kern="120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004170"/>
                  </a:ext>
                </a:extLst>
              </a:tr>
              <a:tr h="2376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8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8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pt-BR" sz="900" b="1" i="0" u="none" strike="noStrike" kern="120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517624"/>
                  </a:ext>
                </a:extLst>
              </a:tr>
              <a:tr h="21288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0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0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pt-BR" sz="900" b="1" i="0" u="none" strike="noStrike" kern="120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4649481"/>
                  </a:ext>
                </a:extLst>
              </a:tr>
              <a:tr h="21288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2,5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2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2,5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6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pt-BR" sz="900" b="1" i="0" u="none" strike="noStrike" kern="120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+40%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188503"/>
                  </a:ext>
                </a:extLst>
              </a:tr>
              <a:tr h="21288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6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31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16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31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pt-BR" sz="900" b="1" i="0" u="none" strike="noStrike" kern="120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600342"/>
                  </a:ext>
                </a:extLst>
              </a:tr>
              <a:tr h="25860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25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37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700" b="1" i="0" u="none" strike="noStrike">
                          <a:solidFill>
                            <a:srgbClr val="FF3000"/>
                          </a:solidFill>
                          <a:effectLst/>
                          <a:latin typeface="Calibri" panose="020F0502020204030204" pitchFamily="34" charset="0"/>
                        </a:rPr>
                        <a:t>→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25,0 m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39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70S/AR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- 24 %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9453952"/>
                  </a:ext>
                </a:extLst>
              </a:tr>
              <a:tr h="2376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TOTAL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90.479 kg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TOTAL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Aileron Black" panose="00000A00000000000000" pitchFamily="50" charset="0"/>
                        </a:rPr>
                        <a:t>74.689 kg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9999"/>
                          </a:solidFill>
                          <a:effectLst/>
                          <a:latin typeface="Aileron Black" panose="00000A00000000000000" pitchFamily="50" charset="0"/>
                        </a:rPr>
                        <a:t>-17,5%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1158991"/>
                  </a:ext>
                </a:extLst>
              </a:tr>
            </a:tbl>
          </a:graphicData>
        </a:graphic>
      </p:graphicFrame>
      <p:pic>
        <p:nvPicPr>
          <p:cNvPr id="9" name="Gráfico 8">
            <a:extLst>
              <a:ext uri="{FF2B5EF4-FFF2-40B4-BE49-F238E27FC236}">
                <a16:creationId xmlns:a16="http://schemas.microsoft.com/office/drawing/2014/main" id="{E5CE1A80-856E-BD61-EB74-767E26A2ED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3773" y="2457729"/>
            <a:ext cx="2814227" cy="2833703"/>
          </a:xfrm>
          <a:prstGeom prst="rect">
            <a:avLst/>
          </a:prstGeom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BEB9B127-8613-76DC-2BEC-6C9C77E950C3}"/>
              </a:ext>
            </a:extLst>
          </p:cNvPr>
          <p:cNvSpPr txBox="1">
            <a:spLocks/>
          </p:cNvSpPr>
          <p:nvPr/>
        </p:nvSpPr>
        <p:spPr>
          <a:xfrm>
            <a:off x="2205079" y="68555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MS PGothic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342892">
              <a:defRPr/>
            </a:pPr>
            <a:r>
              <a:rPr lang="en-US" sz="1650" b="1" dirty="0" err="1">
                <a:solidFill>
                  <a:srgbClr val="FF3700"/>
                </a:solidFill>
              </a:rPr>
              <a:t>Aplicação</a:t>
            </a:r>
            <a:r>
              <a:rPr lang="en-US" sz="1650" b="1" dirty="0">
                <a:solidFill>
                  <a:srgbClr val="FF3700"/>
                </a:solidFill>
              </a:rPr>
              <a:t> do CA70 </a:t>
            </a:r>
            <a:r>
              <a:rPr lang="en-US" sz="1650" b="1" dirty="0" err="1">
                <a:solidFill>
                  <a:srgbClr val="FF3700"/>
                </a:solidFill>
              </a:rPr>
              <a:t>em</a:t>
            </a:r>
            <a:r>
              <a:rPr lang="en-US" sz="1650" b="1" dirty="0">
                <a:solidFill>
                  <a:srgbClr val="FF3700"/>
                </a:solidFill>
              </a:rPr>
              <a:t> </a:t>
            </a:r>
            <a:r>
              <a:rPr lang="en-US" sz="1650" b="1" dirty="0" err="1">
                <a:solidFill>
                  <a:srgbClr val="FF3700"/>
                </a:solidFill>
              </a:rPr>
              <a:t>Fundações</a:t>
            </a:r>
            <a:r>
              <a:rPr lang="en-US" sz="1650" b="1" dirty="0">
                <a:solidFill>
                  <a:srgbClr val="FF3700"/>
                </a:solidFill>
              </a:rPr>
              <a:t> </a:t>
            </a:r>
          </a:p>
          <a:p>
            <a:pPr defTabSz="342892">
              <a:defRPr/>
            </a:pPr>
            <a:r>
              <a:rPr lang="en-US" sz="1650" dirty="0" err="1">
                <a:solidFill>
                  <a:srgbClr val="FF3700"/>
                </a:solidFill>
              </a:rPr>
              <a:t>Comparativo</a:t>
            </a:r>
            <a:r>
              <a:rPr lang="en-US" sz="1650" dirty="0">
                <a:solidFill>
                  <a:srgbClr val="FF3700"/>
                </a:solidFill>
              </a:rPr>
              <a:t> de custos</a:t>
            </a:r>
          </a:p>
        </p:txBody>
      </p:sp>
      <p:pic>
        <p:nvPicPr>
          <p:cNvPr id="11" name="Imagem 10" descr="Uma imagem contendo Texto&#10;&#10;Descrição gerada automaticamente">
            <a:extLst>
              <a:ext uri="{FF2B5EF4-FFF2-40B4-BE49-F238E27FC236}">
                <a16:creationId xmlns:a16="http://schemas.microsoft.com/office/drawing/2014/main" id="{1C50E04F-8BFB-ECD9-D02A-B3BE40B034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86602" y="310126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2953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CE22A60B-C566-6C0D-C81F-F0064781453D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pt-BR" sz="10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51F1868-9741-9791-BEEF-452167F75E5C}"/>
              </a:ext>
            </a:extLst>
          </p:cNvPr>
          <p:cNvSpPr txBox="1">
            <a:spLocks/>
          </p:cNvSpPr>
          <p:nvPr/>
        </p:nvSpPr>
        <p:spPr>
          <a:xfrm>
            <a:off x="359742" y="5605956"/>
            <a:ext cx="6553200" cy="8043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71600">
              <a:lnSpc>
                <a:spcPct val="150000"/>
              </a:lnSpc>
              <a:spcBef>
                <a:spcPts val="1800"/>
              </a:spcBef>
              <a:buNone/>
            </a:pP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ís Filipe Araújo | ArcelorMittal Brasil</a:t>
            </a:r>
            <a:b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is.araujo</a:t>
            </a:r>
            <a:r>
              <a:rPr lang="en-US" sz="1200" dirty="0"/>
              <a:t>@arcelormittal.com.br</a:t>
            </a:r>
            <a:br>
              <a:rPr lang="en-US" sz="1000" dirty="0"/>
            </a:b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m 12" descr="Ícone&#10;&#10;O conteúdo gerado por IA pode estar incorreto.">
            <a:extLst>
              <a:ext uri="{FF2B5EF4-FFF2-40B4-BE49-F238E27FC236}">
                <a16:creationId xmlns:a16="http://schemas.microsoft.com/office/drawing/2014/main" id="{79D519F7-D480-E844-974A-3CBF92EBC2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384" y="2268868"/>
            <a:ext cx="5081232" cy="2092850"/>
          </a:xfrm>
          <a:prstGeom prst="rect">
            <a:avLst/>
          </a:prstGeom>
        </p:spPr>
      </p:pic>
      <p:pic>
        <p:nvPicPr>
          <p:cNvPr id="14" name="Imagem 13" descr="Uma imagem contendo Texto&#10;&#10;Descrição gerada automaticamente">
            <a:extLst>
              <a:ext uri="{FF2B5EF4-FFF2-40B4-BE49-F238E27FC236}">
                <a16:creationId xmlns:a16="http://schemas.microsoft.com/office/drawing/2014/main" id="{06D7B8AA-7631-7646-E248-43B458820A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359742" y="257418"/>
            <a:ext cx="1596789" cy="12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9843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0FDF8-2F95-0CEC-74DA-2FDC2E84D1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B5101C69-C52B-4028-B60C-5339C80AF7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44FF5ED-7903-2281-7E6E-29A7D42097EF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0B8936E-77B0-4FBA-71DF-A22F617FD4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B338885-D180-70B4-13D0-3F8110CAAD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F57ABC2-C59B-1CC4-0235-A3327FAE1F5C}"/>
              </a:ext>
            </a:extLst>
          </p:cNvPr>
          <p:cNvSpPr txBox="1"/>
          <p:nvPr/>
        </p:nvSpPr>
        <p:spPr>
          <a:xfrm>
            <a:off x="347087" y="1497175"/>
            <a:ext cx="3317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PRÉ-TRACIONADA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66349C3B-7214-C00F-A3E9-8EBE049C8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075" y="2293813"/>
            <a:ext cx="5576122" cy="3408341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899EFB74-FBB9-FD31-E75E-5ED3DEE081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9851" y="1593257"/>
            <a:ext cx="2886791" cy="2075763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16FBC423-168D-9027-30BD-8A8CFD3C60D6}"/>
              </a:ext>
            </a:extLst>
          </p:cNvPr>
          <p:cNvSpPr txBox="1"/>
          <p:nvPr/>
        </p:nvSpPr>
        <p:spPr>
          <a:xfrm>
            <a:off x="443844" y="6021738"/>
            <a:ext cx="31244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nte das Imagens: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matec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Formas</a:t>
            </a:r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C5BA7977-5436-5131-3FAC-F739DB2D1E6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7343" r="3452" b="31254"/>
          <a:stretch/>
        </p:blipFill>
        <p:spPr>
          <a:xfrm>
            <a:off x="5919851" y="3997983"/>
            <a:ext cx="2886791" cy="2020855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796289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89462-FB46-1491-0652-BEBDF628E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AD11CDEC-D018-1484-635D-1601D7CF15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F68849DF-F4E1-839E-9860-331EAE011CCF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D3CE431-4C74-A990-1AEB-12F69A997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AB8B985-EDBF-13B8-C803-57FC6F056D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214B1503-8D5C-F783-254C-F3996EB44460}"/>
              </a:ext>
            </a:extLst>
          </p:cNvPr>
          <p:cNvSpPr txBox="1"/>
          <p:nvPr/>
        </p:nvSpPr>
        <p:spPr>
          <a:xfrm>
            <a:off x="347087" y="1497175"/>
            <a:ext cx="4533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PÓS-TRACIONADA ADERENT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922895D-916C-3DBC-0F39-AA2137549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593" y="2293813"/>
            <a:ext cx="4533036" cy="3861023"/>
          </a:xfrm>
          <a:prstGeom prst="rect">
            <a:avLst/>
          </a:prstGeom>
        </p:spPr>
      </p:pic>
      <p:pic>
        <p:nvPicPr>
          <p:cNvPr id="8" name="Imagem 7" descr="Uma imagem contendo cerca, ao ar livre, água, ponte&#10;&#10;O conteúdo gerado por IA pode estar incorreto.">
            <a:extLst>
              <a:ext uri="{FF2B5EF4-FFF2-40B4-BE49-F238E27FC236}">
                <a16:creationId xmlns:a16="http://schemas.microsoft.com/office/drawing/2014/main" id="{F100798B-AB79-AE60-155F-6D9484518E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085" y="1497175"/>
            <a:ext cx="3312828" cy="2484621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3074" name="Picture 2" descr="Protenfor: Protensão Aderente">
            <a:extLst>
              <a:ext uri="{FF2B5EF4-FFF2-40B4-BE49-F238E27FC236}">
                <a16:creationId xmlns:a16="http://schemas.microsoft.com/office/drawing/2014/main" id="{68518DC6-8709-B85D-49F5-B98C629E52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0" r="21454" b="8110"/>
          <a:stretch/>
        </p:blipFill>
        <p:spPr bwMode="auto">
          <a:xfrm>
            <a:off x="5864496" y="4281641"/>
            <a:ext cx="2439920" cy="2315680"/>
          </a:xfrm>
          <a:prstGeom prst="rect">
            <a:avLst/>
          </a:prstGeom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3518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BBB6AB-45FA-C9F4-F672-72A23587E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CDEAC984-9FED-92BB-1A0E-48CEFA9E7A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206B5FFC-73A8-57E5-988D-602E4ACAA54F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8563892-6AE9-B675-2879-E565D50C5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10C736B-1E2D-7506-5686-6AEBD70A8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2882A324-7ED1-0BED-CA0D-5C0EB4B45EC4}"/>
              </a:ext>
            </a:extLst>
          </p:cNvPr>
          <p:cNvSpPr txBox="1"/>
          <p:nvPr/>
        </p:nvSpPr>
        <p:spPr>
          <a:xfrm>
            <a:off x="1650290" y="1242044"/>
            <a:ext cx="50620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MADURA PÓS-TRACIONADA NÃO ADERENTE</a:t>
            </a:r>
          </a:p>
        </p:txBody>
      </p:sp>
      <p:pic>
        <p:nvPicPr>
          <p:cNvPr id="7" name="Imagem 6" descr="Desenho técnico, Calendário&#10;&#10;O conteúdo gerado por IA pode estar incorreto.">
            <a:extLst>
              <a:ext uri="{FF2B5EF4-FFF2-40B4-BE49-F238E27FC236}">
                <a16:creationId xmlns:a16="http://schemas.microsoft.com/office/drawing/2014/main" id="{8B7B073A-65D7-E13D-F485-471FAF9F95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83" b="44241"/>
          <a:stretch/>
        </p:blipFill>
        <p:spPr>
          <a:xfrm>
            <a:off x="471780" y="1874121"/>
            <a:ext cx="3011254" cy="2312423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2F51F356-BCA3-BA3F-8F82-1433BB9B543A}"/>
              </a:ext>
            </a:extLst>
          </p:cNvPr>
          <p:cNvSpPr txBox="1"/>
          <p:nvPr/>
        </p:nvSpPr>
        <p:spPr>
          <a:xfrm>
            <a:off x="3943363" y="1814598"/>
            <a:ext cx="43994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nga discussão na consulta nacional da ABNT NBR 7187:2021 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5279C896-3E31-4553-3C03-211AAB90BC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81796" y="2516477"/>
            <a:ext cx="4896197" cy="3298646"/>
          </a:xfrm>
          <a:prstGeom prst="rect">
            <a:avLst/>
          </a:prstGeom>
        </p:spPr>
      </p:pic>
      <p:pic>
        <p:nvPicPr>
          <p:cNvPr id="4098" name="Picture 2" descr="ANCORAGEM 12.7MM - 25UN">
            <a:extLst>
              <a:ext uri="{FF2B5EF4-FFF2-40B4-BE49-F238E27FC236}">
                <a16:creationId xmlns:a16="http://schemas.microsoft.com/office/drawing/2014/main" id="{64755450-8B40-D049-17AD-2565D90100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5815123"/>
            <a:ext cx="985058" cy="985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unha De Aco Bipartida Para Fixacao De Cordoalha Engraxada E Plastificada  De Diametro Nominal 12,7 Mm (44842)">
            <a:extLst>
              <a:ext uri="{FF2B5EF4-FFF2-40B4-BE49-F238E27FC236}">
                <a16:creationId xmlns:a16="http://schemas.microsoft.com/office/drawing/2014/main" id="{E8A11189-1D6E-4025-F01E-1C497E7F20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6219" y="5937345"/>
            <a:ext cx="1334366" cy="77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A evolução e o uso do concreto protendido">
            <a:extLst>
              <a:ext uri="{FF2B5EF4-FFF2-40B4-BE49-F238E27FC236}">
                <a16:creationId xmlns:a16="http://schemas.microsoft.com/office/drawing/2014/main" id="{3ED9334E-2BD6-68FE-54CF-97192A063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779" y="4458129"/>
            <a:ext cx="3005751" cy="2083987"/>
          </a:xfrm>
          <a:prstGeom prst="rect">
            <a:avLst/>
          </a:prstGeom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45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176D5-A5D9-4FEB-3164-4265EF6B3D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&#10;&#10;Descrição gerada automaticamente">
            <a:extLst>
              <a:ext uri="{FF2B5EF4-FFF2-40B4-BE49-F238E27FC236}">
                <a16:creationId xmlns:a16="http://schemas.microsoft.com/office/drawing/2014/main" id="{16C68998-586F-7BF1-E2FB-AEB1D28AF2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83"/>
          <a:stretch/>
        </p:blipFill>
        <p:spPr>
          <a:xfrm>
            <a:off x="211787" y="193748"/>
            <a:ext cx="1145035" cy="87028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5108C8DE-4646-597F-93C0-6F48EEAA5A9C}"/>
              </a:ext>
            </a:extLst>
          </p:cNvPr>
          <p:cNvSpPr txBox="1"/>
          <p:nvPr/>
        </p:nvSpPr>
        <p:spPr>
          <a:xfrm>
            <a:off x="1695797" y="238872"/>
            <a:ext cx="4572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ços de Alta Resistênc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2A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rdoalhas CP-210 e CA-70 AR 	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EB45817-A0FA-5C69-B197-D5C2A753D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202" y="106977"/>
            <a:ext cx="1620490" cy="109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37E5384-A9E6-7082-F9C6-A51098ABC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692" y="142773"/>
            <a:ext cx="1390646" cy="93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92C2383-704D-3490-FDED-8FC5D14B9E51}"/>
              </a:ext>
            </a:extLst>
          </p:cNvPr>
          <p:cNvSpPr txBox="1"/>
          <p:nvPr/>
        </p:nvSpPr>
        <p:spPr>
          <a:xfrm>
            <a:off x="784304" y="1320944"/>
            <a:ext cx="6249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ojeto da Duplicação da BR-116 – Serra das Araras</a:t>
            </a:r>
          </a:p>
        </p:txBody>
      </p:sp>
      <p:pic>
        <p:nvPicPr>
          <p:cNvPr id="5122" name="Picture 2" descr="Serra das Araras em 2024 — Foto: Divulgação/CCR RioSP">
            <a:extLst>
              <a:ext uri="{FF2B5EF4-FFF2-40B4-BE49-F238E27FC236}">
                <a16:creationId xmlns:a16="http://schemas.microsoft.com/office/drawing/2014/main" id="{FDA139B2-F802-433C-379C-063D7794E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7" y="1947191"/>
            <a:ext cx="7326991" cy="4125249"/>
          </a:xfrm>
          <a:prstGeom prst="rect">
            <a:avLst/>
          </a:prstGeom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0FA68386-5354-6C9D-553E-73EC6F1B7C1A}"/>
              </a:ext>
            </a:extLst>
          </p:cNvPr>
          <p:cNvSpPr txBox="1"/>
          <p:nvPr/>
        </p:nvSpPr>
        <p:spPr>
          <a:xfrm>
            <a:off x="3518706" y="6190855"/>
            <a:ext cx="46740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erra das Araras em 2024 — Foto: Divulgação/CCR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ioSP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42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ronicleVTI">
  <a:themeElements>
    <a:clrScheme name="Chronicle">
      <a:dk1>
        <a:srgbClr val="000000"/>
      </a:dk1>
      <a:lt1>
        <a:srgbClr val="FFFFFF"/>
      </a:lt1>
      <a:dk2>
        <a:srgbClr val="1C1C32"/>
      </a:dk2>
      <a:lt2>
        <a:srgbClr val="F8F4F1"/>
      </a:lt2>
      <a:accent1>
        <a:srgbClr val="734B67"/>
      </a:accent1>
      <a:accent2>
        <a:srgbClr val="959EBB"/>
      </a:accent2>
      <a:accent3>
        <a:srgbClr val="596781"/>
      </a:accent3>
      <a:accent4>
        <a:srgbClr val="7F6E8C"/>
      </a:accent4>
      <a:accent5>
        <a:srgbClr val="DB9A8F"/>
      </a:accent5>
      <a:accent6>
        <a:srgbClr val="C29AB1"/>
      </a:accent6>
      <a:hlink>
        <a:srgbClr val="778BA2"/>
      </a:hlink>
      <a:folHlink>
        <a:srgbClr val="A27C99"/>
      </a:folHlink>
    </a:clrScheme>
    <a:fontScheme name="Univers Calisto">
      <a:majorFont>
        <a:latin typeface="Univers Condensed"/>
        <a:ea typeface=""/>
        <a:cs typeface=""/>
      </a:majorFont>
      <a:minorFont>
        <a:latin typeface="Calisto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hronicleVTI" id="{508E4D90-5116-4BF0-876B-3F422DD1F65F}" vid="{AA21DC3D-92A8-43A4-8358-ED428371CD55}"/>
    </a:ext>
  </a:extLst>
</a:theme>
</file>

<file path=ppt/theme/theme2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PresentationV8">
  <a:themeElements>
    <a:clrScheme name="Personalizada 1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4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ChronicleVTI">
  <a:themeElements>
    <a:clrScheme name="Chronicle">
      <a:dk1>
        <a:srgbClr val="000000"/>
      </a:dk1>
      <a:lt1>
        <a:srgbClr val="FFFFFF"/>
      </a:lt1>
      <a:dk2>
        <a:srgbClr val="1C1C32"/>
      </a:dk2>
      <a:lt2>
        <a:srgbClr val="F8F4F1"/>
      </a:lt2>
      <a:accent1>
        <a:srgbClr val="734B67"/>
      </a:accent1>
      <a:accent2>
        <a:srgbClr val="959EBB"/>
      </a:accent2>
      <a:accent3>
        <a:srgbClr val="596781"/>
      </a:accent3>
      <a:accent4>
        <a:srgbClr val="7F6E8C"/>
      </a:accent4>
      <a:accent5>
        <a:srgbClr val="DB9A8F"/>
      </a:accent5>
      <a:accent6>
        <a:srgbClr val="C29AB1"/>
      </a:accent6>
      <a:hlink>
        <a:srgbClr val="778BA2"/>
      </a:hlink>
      <a:folHlink>
        <a:srgbClr val="A27C99"/>
      </a:folHlink>
    </a:clrScheme>
    <a:fontScheme name="Univers Calisto">
      <a:majorFont>
        <a:latin typeface="Univers Condensed"/>
        <a:ea typeface=""/>
        <a:cs typeface=""/>
      </a:majorFont>
      <a:minorFont>
        <a:latin typeface="Calisto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hronicleVTI" id="{508E4D90-5116-4BF0-876B-3F422DD1F65F}" vid="{AA21DC3D-92A8-43A4-8358-ED428371CD55}"/>
    </a:ext>
  </a:extLst>
</a:theme>
</file>

<file path=ppt/theme/theme7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37cd273a-1cec-4aae-a297-41480ea54f8d}" enabled="0" method="" siteId="{37cd273a-1cec-4aae-a297-41480ea54f8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233</TotalTime>
  <Words>1895</Words>
  <Application>Microsoft Office PowerPoint</Application>
  <PresentationFormat>Apresentação na tela (4:3)</PresentationFormat>
  <Paragraphs>363</Paragraphs>
  <Slides>55</Slides>
  <Notes>10</Notes>
  <HiddenSlides>0</HiddenSlides>
  <MMClips>1</MMClips>
  <ScaleCrop>false</ScaleCrop>
  <HeadingPairs>
    <vt:vector size="8" baseType="variant">
      <vt:variant>
        <vt:lpstr>Fontes usadas</vt:lpstr>
      </vt:variant>
      <vt:variant>
        <vt:i4>19</vt:i4>
      </vt:variant>
      <vt:variant>
        <vt:lpstr>Tema</vt:lpstr>
      </vt:variant>
      <vt:variant>
        <vt:i4>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5</vt:i4>
      </vt:variant>
    </vt:vector>
  </HeadingPairs>
  <TitlesOfParts>
    <vt:vector size="81" baseType="lpstr">
      <vt:lpstr>MS PGothic</vt:lpstr>
      <vt:lpstr>Aileron Black</vt:lpstr>
      <vt:lpstr>Aptos</vt:lpstr>
      <vt:lpstr>Aptos ExtraBold</vt:lpstr>
      <vt:lpstr>Arial</vt:lpstr>
      <vt:lpstr>Arial Black</vt:lpstr>
      <vt:lpstr>Calibri</vt:lpstr>
      <vt:lpstr>Calibri Light</vt:lpstr>
      <vt:lpstr>Calisto MT</vt:lpstr>
      <vt:lpstr>Foundry Sterling Book</vt:lpstr>
      <vt:lpstr>Foundry Sterling Demi</vt:lpstr>
      <vt:lpstr>Gilroy</vt:lpstr>
      <vt:lpstr>Gilroy-Bold</vt:lpstr>
      <vt:lpstr>Montserrat</vt:lpstr>
      <vt:lpstr>Play</vt:lpstr>
      <vt:lpstr>Symbol</vt:lpstr>
      <vt:lpstr>Tahoma</vt:lpstr>
      <vt:lpstr>Verdana</vt:lpstr>
      <vt:lpstr>Wingdings</vt:lpstr>
      <vt:lpstr>ChronicleVTI</vt:lpstr>
      <vt:lpstr>Personalizar design</vt:lpstr>
      <vt:lpstr>7_PresentationV8</vt:lpstr>
      <vt:lpstr>1_Tema do Office</vt:lpstr>
      <vt:lpstr>Office Theme</vt:lpstr>
      <vt:lpstr>1_ChronicleVTI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mbiente colaborativo</vt:lpstr>
      <vt:lpstr>Soluções em aço</vt:lpstr>
      <vt:lpstr>Steligence </vt:lpstr>
      <vt:lpstr>ArcelorMittal 70 S AR</vt:lpstr>
      <vt:lpstr>Apresentação do PowerPoint</vt:lpstr>
      <vt:lpstr>Apresentação do PowerPoint</vt:lpstr>
      <vt:lpstr>ArcelorMittal 70 S AR Características do produ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licação, normalização, aderência, comportamento em altas temperaturas e estudo de fadig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lávia Ribeiro Cerqueira Lima</dc:creator>
  <cp:lastModifiedBy>Elaine Maroni</cp:lastModifiedBy>
  <cp:revision>7</cp:revision>
  <dcterms:created xsi:type="dcterms:W3CDTF">2023-02-28T11:27:06Z</dcterms:created>
  <dcterms:modified xsi:type="dcterms:W3CDTF">2025-05-13T12:50:49Z</dcterms:modified>
</cp:coreProperties>
</file>